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5.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notesSlides/notesSlide8.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10.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11.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13.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4.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7"/>
  </p:notesMasterIdLst>
  <p:handoutMasterIdLst>
    <p:handoutMasterId r:id="rId18"/>
  </p:handoutMasterIdLst>
  <p:sldIdLst>
    <p:sldId id="384" r:id="rId2"/>
    <p:sldId id="5146" r:id="rId3"/>
    <p:sldId id="5162" r:id="rId4"/>
    <p:sldId id="5164" r:id="rId5"/>
    <p:sldId id="5166" r:id="rId6"/>
    <p:sldId id="385" r:id="rId7"/>
    <p:sldId id="5161" r:id="rId8"/>
    <p:sldId id="5170" r:id="rId9"/>
    <p:sldId id="5153" r:id="rId10"/>
    <p:sldId id="5157" r:id="rId11"/>
    <p:sldId id="5154" r:id="rId12"/>
    <p:sldId id="5156" r:id="rId13"/>
    <p:sldId id="5163" r:id="rId14"/>
    <p:sldId id="5168" r:id="rId15"/>
    <p:sldId id="5167" r:id="rId16"/>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B5B5B"/>
    <a:srgbClr val="B27A0A"/>
    <a:srgbClr val="409786"/>
    <a:srgbClr val="6DB761"/>
    <a:srgbClr val="4B4F54"/>
    <a:srgbClr val="839584"/>
    <a:srgbClr val="78A078"/>
    <a:srgbClr val="F2A92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91F5E4-1AFE-4C9C-ABAD-4C228D2D757F}" v="4" dt="2024-11-05T13:05:34.6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52" autoAdjust="0"/>
    <p:restoredTop sz="69660" autoAdjust="0"/>
  </p:normalViewPr>
  <p:slideViewPr>
    <p:cSldViewPr snapToGrid="0" snapToObjects="1">
      <p:cViewPr varScale="1">
        <p:scale>
          <a:sx n="77" d="100"/>
          <a:sy n="77" d="100"/>
        </p:scale>
        <p:origin x="1776" y="84"/>
      </p:cViewPr>
      <p:guideLst/>
    </p:cSldViewPr>
  </p:slideViewPr>
  <p:outlineViewPr>
    <p:cViewPr>
      <p:scale>
        <a:sx n="33" d="100"/>
        <a:sy n="33" d="100"/>
      </p:scale>
      <p:origin x="0" y="0"/>
    </p:cViewPr>
    <p:sldLst>
      <p:sld r:id="rId1" collapse="1"/>
      <p:sld r:id="rId2" collapse="1"/>
      <p:sld r:id="rId3"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86" d="100"/>
          <a:sy n="86" d="100"/>
        </p:scale>
        <p:origin x="3864"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 Id="rId27" Type="http://schemas.microsoft.com/office/2018/10/relationships/authors" Target="authors.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2.xml"/><Relationship Id="rId1"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S::alain.dion3@tpsgc-pwgsc.gc.ca::b5972ad0-fee1-4393-9fd4-8bc589782ac7" providerId="AD" clId="Web-{28380147-FC3E-2D86-919E-FE6ECA0DA9DB}"/>
    <pc:docChg chg="modSld">
      <pc:chgData name="Dion3, Alain (SPAC/PSPC) (il-lui / he-him)" userId="S::alain.dion3@tpsgc-pwgsc.gc.ca::b5972ad0-fee1-4393-9fd4-8bc589782ac7" providerId="AD" clId="Web-{28380147-FC3E-2D86-919E-FE6ECA0DA9DB}" dt="2024-10-28T15:39:17.182" v="7"/>
      <pc:docMkLst>
        <pc:docMk/>
      </pc:docMkLst>
      <pc:sldChg chg="modSp modCm modNotes">
        <pc:chgData name="Dion3, Alain (SPAC/PSPC) (il-lui / he-him)" userId="S::alain.dion3@tpsgc-pwgsc.gc.ca::b5972ad0-fee1-4393-9fd4-8bc589782ac7" providerId="AD" clId="Web-{28380147-FC3E-2D86-919E-FE6ECA0DA9DB}" dt="2024-10-28T15:39:17.182" v="7"/>
        <pc:sldMkLst>
          <pc:docMk/>
          <pc:sldMk cId="2643018674" sldId="5164"/>
        </pc:sldMkLst>
        <pc:spChg chg="mod">
          <ac:chgData name="Dion3, Alain (SPAC/PSPC) (il-lui / he-him)" userId="S::alain.dion3@tpsgc-pwgsc.gc.ca::b5972ad0-fee1-4393-9fd4-8bc589782ac7" providerId="AD" clId="Web-{28380147-FC3E-2D86-919E-FE6ECA0DA9DB}" dt="2024-10-28T15:38:55.120" v="0" actId="20577"/>
          <ac:spMkLst>
            <pc:docMk/>
            <pc:sldMk cId="2643018674" sldId="5164"/>
            <ac:spMk id="5" creationId="{D0DACE9A-1229-9EEE-A180-51B071D4E977}"/>
          </ac:spMkLst>
        </pc:spChg>
        <pc:spChg chg="mod">
          <ac:chgData name="Dion3, Alain (SPAC/PSPC) (il-lui / he-him)" userId="S::alain.dion3@tpsgc-pwgsc.gc.ca::b5972ad0-fee1-4393-9fd4-8bc589782ac7" providerId="AD" clId="Web-{28380147-FC3E-2D86-919E-FE6ECA0DA9DB}" dt="2024-10-28T15:39:05.245" v="5" actId="20577"/>
          <ac:spMkLst>
            <pc:docMk/>
            <pc:sldMk cId="2643018674" sldId="5164"/>
            <ac:spMk id="12" creationId="{6A3B9CD2-AFBF-BEF4-7CE5-AED963949FAC}"/>
          </ac:spMkLst>
        </pc:spChg>
        <pc:extLst>
          <p:ext xmlns:p="http://schemas.openxmlformats.org/presentationml/2006/main" uri="{D6D511B9-2390-475A-947B-AFAB55BFBCF1}">
            <pc226:cmChg xmlns:pc226="http://schemas.microsoft.com/office/powerpoint/2022/06/main/command" chg="mod">
              <pc226:chgData name="Dion3, Alain (SPAC/PSPC) (il-lui / he-him)" userId="S::alain.dion3@tpsgc-pwgsc.gc.ca::b5972ad0-fee1-4393-9fd4-8bc589782ac7" providerId="AD" clId="Web-{28380147-FC3E-2D86-919E-FE6ECA0DA9DB}" dt="2024-10-28T15:39:04.229" v="4" actId="20577"/>
              <pc2:cmMkLst xmlns:pc2="http://schemas.microsoft.com/office/powerpoint/2019/9/main/command">
                <pc:docMk/>
                <pc:sldMk cId="2643018674" sldId="5164"/>
                <pc2:cmMk id="{7F132811-33D1-4F42-BA40-C42C7B67BD9D}"/>
              </pc2:cmMkLst>
            </pc226:cmChg>
          </p:ext>
        </pc:extLst>
      </pc:sldChg>
    </pc:docChg>
  </pc:docChgLst>
  <pc:docChgLst>
    <pc:chgData name="Jacob, Karen (SPAC/PSPC) (elle-la / she-her)" userId="66e9cce0-e37b-4645-a907-f7690bd68dfb" providerId="ADAL" clId="{A3599A74-B049-44EE-8670-DE420CF3148A}"/>
    <pc:docChg chg="undo custSel addSld delSld modSld sldOrd">
      <pc:chgData name="Jacob, Karen (SPAC/PSPC) (elle-la / she-her)" userId="66e9cce0-e37b-4645-a907-f7690bd68dfb" providerId="ADAL" clId="{A3599A74-B049-44EE-8670-DE420CF3148A}" dt="2024-10-30T19:40:49.199" v="20505"/>
      <pc:docMkLst>
        <pc:docMk/>
      </pc:docMkLst>
      <pc:sldChg chg="addSp delSp modSp mod ord delCm modCm modNotesTx">
        <pc:chgData name="Jacob, Karen (SPAC/PSPC) (elle-la / she-her)" userId="66e9cce0-e37b-4645-a907-f7690bd68dfb" providerId="ADAL" clId="{A3599A74-B049-44EE-8670-DE420CF3148A}" dt="2024-10-30T19:34:01.335" v="19955" actId="20577"/>
        <pc:sldMkLst>
          <pc:docMk/>
          <pc:sldMk cId="782836501" sldId="385"/>
        </pc:sldMkLst>
        <pc:spChg chg="mod">
          <ac:chgData name="Jacob, Karen (SPAC/PSPC) (elle-la / she-her)" userId="66e9cce0-e37b-4645-a907-f7690bd68dfb" providerId="ADAL" clId="{A3599A74-B049-44EE-8670-DE420CF3148A}" dt="2024-10-30T19:22:25.111" v="19717" actId="14100"/>
          <ac:spMkLst>
            <pc:docMk/>
            <pc:sldMk cId="782836501" sldId="385"/>
            <ac:spMk id="2" creationId="{7848FF00-1347-4DA1-9437-1B4A0F154B78}"/>
          </ac:spMkLst>
        </pc:spChg>
        <pc:spChg chg="del mod">
          <ac:chgData name="Jacob, Karen (SPAC/PSPC) (elle-la / she-her)" userId="66e9cce0-e37b-4645-a907-f7690bd68dfb" providerId="ADAL" clId="{A3599A74-B049-44EE-8670-DE420CF3148A}" dt="2024-10-18T18:05:57.488" v="7719" actId="478"/>
          <ac:spMkLst>
            <pc:docMk/>
            <pc:sldMk cId="782836501" sldId="385"/>
            <ac:spMk id="9" creationId="{92961367-DDD3-8A64-C952-5C76064AAD47}"/>
          </ac:spMkLst>
        </pc:spChg>
        <pc:graphicFrameChg chg="add mod modGraphic">
          <ac:chgData name="Jacob, Karen (SPAC/PSPC) (elle-la / she-her)" userId="66e9cce0-e37b-4645-a907-f7690bd68dfb" providerId="ADAL" clId="{A3599A74-B049-44EE-8670-DE420CF3148A}" dt="2024-10-23T19:20:46.488" v="11667" actId="20577"/>
          <ac:graphicFrameMkLst>
            <pc:docMk/>
            <pc:sldMk cId="782836501" sldId="385"/>
            <ac:graphicFrameMk id="5" creationId="{47AF23CB-9CF8-3A93-AC5C-6849E2091E92}"/>
          </ac:graphicFrameMkLst>
        </pc:graphicFrame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22:39.304" v="19719"/>
              <pc2:cmMkLst xmlns:pc2="http://schemas.microsoft.com/office/powerpoint/2019/9/main/command">
                <pc:docMk/>
                <pc:sldMk cId="782836501" sldId="385"/>
                <pc2:cmMk id="{F499BB07-D7D6-4CC9-AFAD-00EF079EB961}"/>
              </pc2:cmMkLst>
              <pc226:cmRplyChg chg="add">
                <pc226:chgData name="Jacob, Karen (SPAC/PSPC) (elle-la / she-her)" userId="66e9cce0-e37b-4645-a907-f7690bd68dfb" providerId="ADAL" clId="{A3599A74-B049-44EE-8670-DE420CF3148A}" dt="2024-10-23T18:47:55.735" v="9946"/>
                <pc2:cmRplyMkLst xmlns:pc2="http://schemas.microsoft.com/office/powerpoint/2019/9/main/command">
                  <pc:docMk/>
                  <pc:sldMk cId="782836501" sldId="385"/>
                  <pc2:cmMk id="{F499BB07-D7D6-4CC9-AFAD-00EF079EB961}"/>
                  <pc2:cmRplyMk id="{25A1F558-FD9A-4F3D-A1B5-B07D129F9C0C}"/>
                </pc2:cmRplyMkLst>
              </pc226:cmRplyChg>
            </pc226:cmChg>
            <pc226:cmChg xmlns:pc226="http://schemas.microsoft.com/office/powerpoint/2022/06/main/command" chg="del">
              <pc226:chgData name="Jacob, Karen (SPAC/PSPC) (elle-la / she-her)" userId="66e9cce0-e37b-4645-a907-f7690bd68dfb" providerId="ADAL" clId="{A3599A74-B049-44EE-8670-DE420CF3148A}" dt="2024-10-30T19:22:37.728" v="19718"/>
              <pc2:cmMkLst xmlns:pc2="http://schemas.microsoft.com/office/powerpoint/2019/9/main/command">
                <pc:docMk/>
                <pc:sldMk cId="782836501" sldId="385"/>
                <pc2:cmMk id="{08DFA770-9AD2-43E9-B8D5-D28F93D15EE9}"/>
              </pc2:cmMkLst>
              <pc226:cmRplyChg chg="add mod">
                <pc226:chgData name="Jacob, Karen (SPAC/PSPC) (elle-la / she-her)" userId="66e9cce0-e37b-4645-a907-f7690bd68dfb" providerId="ADAL" clId="{A3599A74-B049-44EE-8670-DE420CF3148A}" dt="2024-10-23T20:13:07.977" v="17640"/>
                <pc2:cmRplyMkLst xmlns:pc2="http://schemas.microsoft.com/office/powerpoint/2019/9/main/command">
                  <pc:docMk/>
                  <pc:sldMk cId="782836501" sldId="385"/>
                  <pc2:cmMk id="{08DFA770-9AD2-43E9-B8D5-D28F93D15EE9}"/>
                  <pc2:cmRplyMk id="{0EF86619-E68D-407F-AC6E-A07DF633A65C}"/>
                </pc2:cmRplyMkLst>
              </pc226:cmRplyChg>
            </pc226:cmChg>
            <pc226:cmChg xmlns:pc226="http://schemas.microsoft.com/office/powerpoint/2022/06/main/command" chg="del mod">
              <pc226:chgData name="Jacob, Karen (SPAC/PSPC) (elle-la / she-her)" userId="66e9cce0-e37b-4645-a907-f7690bd68dfb" providerId="ADAL" clId="{A3599A74-B049-44EE-8670-DE420CF3148A}" dt="2024-10-30T19:22:40.258" v="19720"/>
              <pc2:cmMkLst xmlns:pc2="http://schemas.microsoft.com/office/powerpoint/2019/9/main/command">
                <pc:docMk/>
                <pc:sldMk cId="782836501" sldId="385"/>
                <pc2:cmMk id="{2BDB6A8A-A80B-41A7-A37B-6556F60CAF4D}"/>
              </pc2:cmMkLst>
            </pc226:cmChg>
          </p:ext>
        </pc:extLst>
      </pc:sldChg>
      <pc:sldChg chg="del">
        <pc:chgData name="Jacob, Karen (SPAC/PSPC) (elle-la / she-her)" userId="66e9cce0-e37b-4645-a907-f7690bd68dfb" providerId="ADAL" clId="{A3599A74-B049-44EE-8670-DE420CF3148A}" dt="2024-10-17T15:04:12.381" v="2174" actId="47"/>
        <pc:sldMkLst>
          <pc:docMk/>
          <pc:sldMk cId="3194185217" sldId="5000"/>
        </pc:sldMkLst>
      </pc:sldChg>
      <pc:sldChg chg="modSp del mod">
        <pc:chgData name="Jacob, Karen (SPAC/PSPC) (elle-la / she-her)" userId="66e9cce0-e37b-4645-a907-f7690bd68dfb" providerId="ADAL" clId="{A3599A74-B049-44EE-8670-DE420CF3148A}" dt="2024-10-18T12:39:48.451" v="4252" actId="47"/>
        <pc:sldMkLst>
          <pc:docMk/>
          <pc:sldMk cId="780127847" sldId="5020"/>
        </pc:sldMkLst>
        <pc:spChg chg="mod">
          <ac:chgData name="Jacob, Karen (SPAC/PSPC) (elle-la / she-her)" userId="66e9cce0-e37b-4645-a907-f7690bd68dfb" providerId="ADAL" clId="{A3599A74-B049-44EE-8670-DE420CF3148A}" dt="2024-10-17T14:52:37.789" v="2173" actId="20577"/>
          <ac:spMkLst>
            <pc:docMk/>
            <pc:sldMk cId="780127847" sldId="5020"/>
            <ac:spMk id="3" creationId="{CC8B02F3-0C27-03C9-5D56-EC07236B6660}"/>
          </ac:spMkLst>
        </pc:spChg>
      </pc:sldChg>
      <pc:sldChg chg="modSp del mod">
        <pc:chgData name="Jacob, Karen (SPAC/PSPC) (elle-la / she-her)" userId="66e9cce0-e37b-4645-a907-f7690bd68dfb" providerId="ADAL" clId="{A3599A74-B049-44EE-8670-DE420CF3148A}" dt="2024-10-18T12:40:58.575" v="4255" actId="47"/>
        <pc:sldMkLst>
          <pc:docMk/>
          <pc:sldMk cId="2411431044" sldId="5021"/>
        </pc:sldMkLst>
        <pc:spChg chg="mod">
          <ac:chgData name="Jacob, Karen (SPAC/PSPC) (elle-la / she-her)" userId="66e9cce0-e37b-4645-a907-f7690bd68dfb" providerId="ADAL" clId="{A3599A74-B049-44EE-8670-DE420CF3148A}" dt="2024-10-17T15:14:20.538" v="3019" actId="20577"/>
          <ac:spMkLst>
            <pc:docMk/>
            <pc:sldMk cId="2411431044" sldId="5021"/>
            <ac:spMk id="2" creationId="{9DE119AA-C27C-1F93-8533-D6E1F56A43A8}"/>
          </ac:spMkLst>
        </pc:spChg>
      </pc:sldChg>
      <pc:sldChg chg="modSp del mod ord">
        <pc:chgData name="Jacob, Karen (SPAC/PSPC) (elle-la / she-her)" userId="66e9cce0-e37b-4645-a907-f7690bd68dfb" providerId="ADAL" clId="{A3599A74-B049-44EE-8670-DE420CF3148A}" dt="2024-10-17T14:21:04.727" v="1001" actId="47"/>
        <pc:sldMkLst>
          <pc:docMk/>
          <pc:sldMk cId="3865673805" sldId="5022"/>
        </pc:sldMkLst>
        <pc:spChg chg="mod">
          <ac:chgData name="Jacob, Karen (SPAC/PSPC) (elle-la / she-her)" userId="66e9cce0-e37b-4645-a907-f7690bd68dfb" providerId="ADAL" clId="{A3599A74-B049-44EE-8670-DE420CF3148A}" dt="2024-10-08T20:19:37.619" v="3" actId="1076"/>
          <ac:spMkLst>
            <pc:docMk/>
            <pc:sldMk cId="3865673805" sldId="5022"/>
            <ac:spMk id="4" creationId="{5CFF1F66-C9F8-5499-40CC-51C8B8764C38}"/>
          </ac:spMkLst>
        </pc:spChg>
        <pc:spChg chg="mod">
          <ac:chgData name="Jacob, Karen (SPAC/PSPC) (elle-la / she-her)" userId="66e9cce0-e37b-4645-a907-f7690bd68dfb" providerId="ADAL" clId="{A3599A74-B049-44EE-8670-DE420CF3148A}" dt="2024-10-08T20:20:21.847" v="6" actId="14100"/>
          <ac:spMkLst>
            <pc:docMk/>
            <pc:sldMk cId="3865673805" sldId="5022"/>
            <ac:spMk id="47" creationId="{6F061153-9151-0D2F-6C2F-16E75EEC8F0B}"/>
          </ac:spMkLst>
        </pc:spChg>
        <pc:spChg chg="mod">
          <ac:chgData name="Jacob, Karen (SPAC/PSPC) (elle-la / she-her)" userId="66e9cce0-e37b-4645-a907-f7690bd68dfb" providerId="ADAL" clId="{A3599A74-B049-44EE-8670-DE420CF3148A}" dt="2024-10-08T20:20:24.227" v="7" actId="14100"/>
          <ac:spMkLst>
            <pc:docMk/>
            <pc:sldMk cId="3865673805" sldId="5022"/>
            <ac:spMk id="48" creationId="{6B16CA0D-CB1F-D6ED-89BE-F6616AE840BF}"/>
          </ac:spMkLst>
        </pc:spChg>
        <pc:spChg chg="mod">
          <ac:chgData name="Jacob, Karen (SPAC/PSPC) (elle-la / she-her)" userId="66e9cce0-e37b-4645-a907-f7690bd68dfb" providerId="ADAL" clId="{A3599A74-B049-44EE-8670-DE420CF3148A}" dt="2024-10-17T14:19:37.605" v="933" actId="1076"/>
          <ac:spMkLst>
            <pc:docMk/>
            <pc:sldMk cId="3865673805" sldId="5022"/>
            <ac:spMk id="51" creationId="{F808FB0B-95FB-588D-74D4-560CE24F641C}"/>
          </ac:spMkLst>
        </pc:spChg>
        <pc:spChg chg="mod">
          <ac:chgData name="Jacob, Karen (SPAC/PSPC) (elle-la / she-her)" userId="66e9cce0-e37b-4645-a907-f7690bd68dfb" providerId="ADAL" clId="{A3599A74-B049-44EE-8670-DE420CF3148A}" dt="2024-10-17T13:36:28.195" v="13" actId="1076"/>
          <ac:spMkLst>
            <pc:docMk/>
            <pc:sldMk cId="3865673805" sldId="5022"/>
            <ac:spMk id="53" creationId="{77D85CA5-B859-31BE-A852-18BCBED95D02}"/>
          </ac:spMkLst>
        </pc:spChg>
        <pc:spChg chg="mod">
          <ac:chgData name="Jacob, Karen (SPAC/PSPC) (elle-la / she-her)" userId="66e9cce0-e37b-4645-a907-f7690bd68dfb" providerId="ADAL" clId="{A3599A74-B049-44EE-8670-DE420CF3148A}" dt="2024-10-08T20:20:31.830" v="8" actId="14100"/>
          <ac:spMkLst>
            <pc:docMk/>
            <pc:sldMk cId="3865673805" sldId="5022"/>
            <ac:spMk id="54" creationId="{D1AF6197-0772-06C0-D39E-B685CA3A6EAD}"/>
          </ac:spMkLst>
        </pc:spChg>
        <pc:spChg chg="mod">
          <ac:chgData name="Jacob, Karen (SPAC/PSPC) (elle-la / she-her)" userId="66e9cce0-e37b-4645-a907-f7690bd68dfb" providerId="ADAL" clId="{A3599A74-B049-44EE-8670-DE420CF3148A}" dt="2024-10-17T13:36:37.428" v="16" actId="1076"/>
          <ac:spMkLst>
            <pc:docMk/>
            <pc:sldMk cId="3865673805" sldId="5022"/>
            <ac:spMk id="57" creationId="{80C64189-743E-1D6F-BC38-898A98A32465}"/>
          </ac:spMkLst>
        </pc:spChg>
        <pc:spChg chg="mod">
          <ac:chgData name="Jacob, Karen (SPAC/PSPC) (elle-la / she-her)" userId="66e9cce0-e37b-4645-a907-f7690bd68dfb" providerId="ADAL" clId="{A3599A74-B049-44EE-8670-DE420CF3148A}" dt="2024-10-17T13:36:33.364" v="15" actId="14100"/>
          <ac:spMkLst>
            <pc:docMk/>
            <pc:sldMk cId="3865673805" sldId="5022"/>
            <ac:spMk id="58" creationId="{62D48345-9A67-33B9-271D-D2722B58526B}"/>
          </ac:spMkLst>
        </pc:spChg>
      </pc:sldChg>
      <pc:sldChg chg="modSp mod delCm modCm">
        <pc:chgData name="Jacob, Karen (SPAC/PSPC) (elle-la / she-her)" userId="66e9cce0-e37b-4645-a907-f7690bd68dfb" providerId="ADAL" clId="{A3599A74-B049-44EE-8670-DE420CF3148A}" dt="2024-10-30T19:18:25.064" v="19482"/>
        <pc:sldMkLst>
          <pc:docMk/>
          <pc:sldMk cId="3499923032" sldId="5146"/>
        </pc:sldMkLst>
        <pc:spChg chg="mod">
          <ac:chgData name="Jacob, Karen (SPAC/PSPC) (elle-la / she-her)" userId="66e9cce0-e37b-4645-a907-f7690bd68dfb" providerId="ADAL" clId="{A3599A74-B049-44EE-8670-DE420CF3148A}" dt="2024-10-23T18:31:47.502" v="8931" actId="14100"/>
          <ac:spMkLst>
            <pc:docMk/>
            <pc:sldMk cId="3499923032" sldId="5146"/>
            <ac:spMk id="5" creationId="{249EDED2-ACA5-E482-22BD-5F1403FEDBE4}"/>
          </ac:spMkLst>
        </pc:spChg>
        <pc:spChg chg="mod">
          <ac:chgData name="Jacob, Karen (SPAC/PSPC) (elle-la / she-her)" userId="66e9cce0-e37b-4645-a907-f7690bd68dfb" providerId="ADAL" clId="{A3599A74-B049-44EE-8670-DE420CF3148A}" dt="2024-10-30T19:18:19.600" v="1948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18:25.064" v="19482"/>
              <pc2:cmMkLst xmlns:pc2="http://schemas.microsoft.com/office/powerpoint/2019/9/main/command">
                <pc:docMk/>
                <pc:sldMk cId="3499923032" sldId="5146"/>
                <pc2:cmMk id="{84837318-60D0-4AAA-A600-F35F7829DA8B}"/>
              </pc2:cmMkLst>
            </pc226:cmChg>
            <pc226:cmChg xmlns:pc226="http://schemas.microsoft.com/office/powerpoint/2022/06/main/command" chg="del mod">
              <pc226:chgData name="Jacob, Karen (SPAC/PSPC) (elle-la / she-her)" userId="66e9cce0-e37b-4645-a907-f7690bd68dfb" providerId="ADAL" clId="{A3599A74-B049-44EE-8670-DE420CF3148A}" dt="2024-10-30T19:18:03.379" v="19443"/>
              <pc2:cmMkLst xmlns:pc2="http://schemas.microsoft.com/office/powerpoint/2019/9/main/command">
                <pc:docMk/>
                <pc:sldMk cId="3499923032" sldId="5146"/>
                <pc2:cmMk id="{98484DB0-A815-436A-903F-8EA5EEB72975}"/>
              </pc2:cmMkLst>
            </pc226:cmChg>
          </p:ext>
        </pc:extLst>
      </pc:sldChg>
      <pc:sldChg chg="addSp modSp mod delCm modCm modNotesTx">
        <pc:chgData name="Jacob, Karen (SPAC/PSPC) (elle-la / she-her)" userId="66e9cce0-e37b-4645-a907-f7690bd68dfb" providerId="ADAL" clId="{A3599A74-B049-44EE-8670-DE420CF3148A}" dt="2024-10-30T19:32:44.445" v="19816" actId="20577"/>
        <pc:sldMkLst>
          <pc:docMk/>
          <pc:sldMk cId="2509489348" sldId="5153"/>
        </pc:sldMkLst>
        <pc:spChg chg="mod">
          <ac:chgData name="Jacob, Karen (SPAC/PSPC) (elle-la / she-her)" userId="66e9cce0-e37b-4645-a907-f7690bd68dfb" providerId="ADAL" clId="{A3599A74-B049-44EE-8670-DE420CF3148A}" dt="2024-10-23T18:24:45.291" v="8142" actId="20577"/>
          <ac:spMkLst>
            <pc:docMk/>
            <pc:sldMk cId="2509489348" sldId="5153"/>
            <ac:spMk id="3" creationId="{41BE6B50-88EB-D2A5-67D3-AD36A9027E26}"/>
          </ac:spMkLst>
        </pc:spChg>
        <pc:spChg chg="mod">
          <ac:chgData name="Jacob, Karen (SPAC/PSPC) (elle-la / she-her)" userId="66e9cce0-e37b-4645-a907-f7690bd68dfb" providerId="ADAL" clId="{A3599A74-B049-44EE-8670-DE420CF3148A}" dt="2024-10-30T19:32:30.866" v="19810" actId="20577"/>
          <ac:spMkLst>
            <pc:docMk/>
            <pc:sldMk cId="2509489348" sldId="5153"/>
            <ac:spMk id="5" creationId="{D0DACE9A-1229-9EEE-A180-51B071D4E977}"/>
          </ac:spMkLst>
        </pc:spChg>
        <pc:spChg chg="add mod">
          <ac:chgData name="Jacob, Karen (SPAC/PSPC) (elle-la / she-her)" userId="66e9cce0-e37b-4645-a907-f7690bd68dfb" providerId="ADAL" clId="{A3599A74-B049-44EE-8670-DE420CF3148A}" dt="2024-10-23T20:20:49.437" v="18351" actId="20577"/>
          <ac:spMkLst>
            <pc:docMk/>
            <pc:sldMk cId="2509489348" sldId="5153"/>
            <ac:spMk id="6" creationId="{55B9010B-A8A7-9B6F-B5B4-3FFDE75A9E2A}"/>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23T20:19:03.724" v="18295"/>
              <pc2:cmMkLst xmlns:pc2="http://schemas.microsoft.com/office/powerpoint/2019/9/main/command">
                <pc:docMk/>
                <pc:sldMk cId="2509489348" sldId="5153"/>
                <pc2:cmMk id="{A0C5752E-331E-4656-AD78-076BBF0C204F}"/>
              </pc2:cmMkLst>
            </pc226:cmChg>
            <pc226:cmChg xmlns:pc226="http://schemas.microsoft.com/office/powerpoint/2022/06/main/command" chg="del mod">
              <pc226:chgData name="Jacob, Karen (SPAC/PSPC) (elle-la / she-her)" userId="66e9cce0-e37b-4645-a907-f7690bd68dfb" providerId="ADAL" clId="{A3599A74-B049-44EE-8670-DE420CF3148A}" dt="2024-10-30T19:32:15.995" v="19779"/>
              <pc2:cmMkLst xmlns:pc2="http://schemas.microsoft.com/office/powerpoint/2019/9/main/command">
                <pc:docMk/>
                <pc:sldMk cId="2509489348" sldId="5153"/>
                <pc2:cmMk id="{A04B6C77-3AD8-4C27-BA6B-9D16BA7C9FC3}"/>
              </pc2:cmMkLst>
            </pc226:cmChg>
            <pc226:cmChg xmlns:pc226="http://schemas.microsoft.com/office/powerpoint/2022/06/main/command" chg="del mod">
              <pc226:chgData name="Jacob, Karen (SPAC/PSPC) (elle-la / she-her)" userId="66e9cce0-e37b-4645-a907-f7690bd68dfb" providerId="ADAL" clId="{A3599A74-B049-44EE-8670-DE420CF3148A}" dt="2024-10-30T19:32:37.118" v="19811"/>
              <pc2:cmMkLst xmlns:pc2="http://schemas.microsoft.com/office/powerpoint/2019/9/main/command">
                <pc:docMk/>
                <pc:sldMk cId="2509489348" sldId="5153"/>
                <pc2:cmMk id="{04DBD37E-CAF2-41DB-9F84-6FDC3BC5F9AB}"/>
              </pc2:cmMkLst>
            </pc226:cmChg>
          </p:ext>
        </pc:extLst>
      </pc:sldChg>
      <pc:sldChg chg="addSp delSp modSp mod ord delCm modCm">
        <pc:chgData name="Jacob, Karen (SPAC/PSPC) (elle-la / she-her)" userId="66e9cce0-e37b-4645-a907-f7690bd68dfb" providerId="ADAL" clId="{A3599A74-B049-44EE-8670-DE420CF3148A}" dt="2024-10-30T19:36:01.823" v="20009"/>
        <pc:sldMkLst>
          <pc:docMk/>
          <pc:sldMk cId="1022071146" sldId="5154"/>
        </pc:sldMkLst>
        <pc:spChg chg="mod">
          <ac:chgData name="Jacob, Karen (SPAC/PSPC) (elle-la / she-her)" userId="66e9cce0-e37b-4645-a907-f7690bd68dfb" providerId="ADAL" clId="{A3599A74-B049-44EE-8670-DE420CF3148A}" dt="2024-10-30T19:35:53.943" v="20008" actId="20577"/>
          <ac:spMkLst>
            <pc:docMk/>
            <pc:sldMk cId="1022071146" sldId="5154"/>
            <ac:spMk id="3" creationId="{7A78167E-F052-C9E8-04C8-15DFB9851FEC}"/>
          </ac:spMkLst>
        </pc:spChg>
        <pc:spChg chg="del mod">
          <ac:chgData name="Jacob, Karen (SPAC/PSPC) (elle-la / she-her)" userId="66e9cce0-e37b-4645-a907-f7690bd68dfb" providerId="ADAL" clId="{A3599A74-B049-44EE-8670-DE420CF3148A}" dt="2024-10-18T15:13:08.133" v="5614" actId="478"/>
          <ac:spMkLst>
            <pc:docMk/>
            <pc:sldMk cId="1022071146" sldId="5154"/>
            <ac:spMk id="9" creationId="{C28A70ED-E72C-D55F-3ED8-357508D798AA}"/>
          </ac:spMkLst>
        </pc:spChg>
        <pc:spChg chg="del mod">
          <ac:chgData name="Jacob, Karen (SPAC/PSPC) (elle-la / she-her)" userId="66e9cce0-e37b-4645-a907-f7690bd68dfb" providerId="ADAL" clId="{A3599A74-B049-44EE-8670-DE420CF3148A}" dt="2024-10-18T15:12:27.899" v="5600" actId="478"/>
          <ac:spMkLst>
            <pc:docMk/>
            <pc:sldMk cId="1022071146" sldId="5154"/>
            <ac:spMk id="11" creationId="{15DC1763-3F26-C01B-E5B4-F3AAD22FEC9B}"/>
          </ac:spMkLst>
        </pc:spChg>
        <pc:spChg chg="del mod">
          <ac:chgData name="Jacob, Karen (SPAC/PSPC) (elle-la / she-her)" userId="66e9cce0-e37b-4645-a907-f7690bd68dfb" providerId="ADAL" clId="{A3599A74-B049-44EE-8670-DE420CF3148A}" dt="2024-10-18T15:12:39.996" v="5602" actId="478"/>
          <ac:spMkLst>
            <pc:docMk/>
            <pc:sldMk cId="1022071146" sldId="5154"/>
            <ac:spMk id="13" creationId="{BC2615B4-03B1-DA0D-607A-97E540A78303}"/>
          </ac:spMkLst>
        </pc:spChg>
        <pc:spChg chg="del mod">
          <ac:chgData name="Jacob, Karen (SPAC/PSPC) (elle-la / she-her)" userId="66e9cce0-e37b-4645-a907-f7690bd68dfb" providerId="ADAL" clId="{A3599A74-B049-44EE-8670-DE420CF3148A}" dt="2024-10-18T15:12:37.512" v="5601" actId="478"/>
          <ac:spMkLst>
            <pc:docMk/>
            <pc:sldMk cId="1022071146" sldId="5154"/>
            <ac:spMk id="15" creationId="{435A8557-46F3-8E61-B1B5-F9625DCD5821}"/>
          </ac:spMkLst>
        </pc:spChg>
        <pc:spChg chg="mod">
          <ac:chgData name="Jacob, Karen (SPAC/PSPC) (elle-la / she-her)" userId="66e9cce0-e37b-4645-a907-f7690bd68dfb" providerId="ADAL" clId="{A3599A74-B049-44EE-8670-DE420CF3148A}" dt="2024-10-23T18:25:34.851" v="8145" actId="20577"/>
          <ac:spMkLst>
            <pc:docMk/>
            <pc:sldMk cId="1022071146" sldId="5154"/>
            <ac:spMk id="16" creationId="{9FC768E5-1F64-2B56-E0C1-44C03EE92B56}"/>
          </ac:spMkLst>
        </pc:spChg>
        <pc:spChg chg="mod">
          <ac:chgData name="Jacob, Karen (SPAC/PSPC) (elle-la / she-her)" userId="66e9cce0-e37b-4645-a907-f7690bd68dfb" providerId="ADAL" clId="{A3599A74-B049-44EE-8670-DE420CF3148A}" dt="2024-10-18T15:12:05.311" v="5544"/>
          <ac:spMkLst>
            <pc:docMk/>
            <pc:sldMk cId="1022071146" sldId="5154"/>
            <ac:spMk id="18" creationId="{70058B1D-0A8A-760D-BED4-2BB0341C1D65}"/>
          </ac:spMkLst>
        </pc:spChg>
        <pc:spChg chg="mod">
          <ac:chgData name="Jacob, Karen (SPAC/PSPC) (elle-la / she-her)" userId="66e9cce0-e37b-4645-a907-f7690bd68dfb" providerId="ADAL" clId="{A3599A74-B049-44EE-8670-DE420CF3148A}" dt="2024-10-18T15:12:05.311" v="5544"/>
          <ac:spMkLst>
            <pc:docMk/>
            <pc:sldMk cId="1022071146" sldId="5154"/>
            <ac:spMk id="20" creationId="{9ACC593A-9919-1799-8ABB-A64A666F9F26}"/>
          </ac:spMkLst>
        </pc:spChg>
        <pc:spChg chg="mod">
          <ac:chgData name="Jacob, Karen (SPAC/PSPC) (elle-la / she-her)" userId="66e9cce0-e37b-4645-a907-f7690bd68dfb" providerId="ADAL" clId="{A3599A74-B049-44EE-8670-DE420CF3148A}" dt="2024-10-18T15:12:05.311" v="5544"/>
          <ac:spMkLst>
            <pc:docMk/>
            <pc:sldMk cId="1022071146" sldId="5154"/>
            <ac:spMk id="21" creationId="{E3C94D93-CA24-69BA-42B5-5D6F6FBA9C87}"/>
          </ac:spMkLst>
        </pc:spChg>
        <pc:spChg chg="mod">
          <ac:chgData name="Jacob, Karen (SPAC/PSPC) (elle-la / she-her)" userId="66e9cce0-e37b-4645-a907-f7690bd68dfb" providerId="ADAL" clId="{A3599A74-B049-44EE-8670-DE420CF3148A}" dt="2024-10-18T15:12:05.311" v="5544"/>
          <ac:spMkLst>
            <pc:docMk/>
            <pc:sldMk cId="1022071146" sldId="5154"/>
            <ac:spMk id="23" creationId="{4C6A7B9E-69AE-501D-1378-FDD8B8D94959}"/>
          </ac:spMkLst>
        </pc:spChg>
        <pc:spChg chg="mod">
          <ac:chgData name="Jacob, Karen (SPAC/PSPC) (elle-la / she-her)" userId="66e9cce0-e37b-4645-a907-f7690bd68dfb" providerId="ADAL" clId="{A3599A74-B049-44EE-8670-DE420CF3148A}" dt="2024-10-18T15:12:05.311" v="5544"/>
          <ac:spMkLst>
            <pc:docMk/>
            <pc:sldMk cId="1022071146" sldId="5154"/>
            <ac:spMk id="24" creationId="{EA992CF0-F97D-F076-9A7A-DB43E7EF8384}"/>
          </ac:spMkLst>
        </pc:spChg>
        <pc:spChg chg="mod">
          <ac:chgData name="Jacob, Karen (SPAC/PSPC) (elle-la / she-her)" userId="66e9cce0-e37b-4645-a907-f7690bd68dfb" providerId="ADAL" clId="{A3599A74-B049-44EE-8670-DE420CF3148A}" dt="2024-10-18T15:12:05.311" v="5544"/>
          <ac:spMkLst>
            <pc:docMk/>
            <pc:sldMk cId="1022071146" sldId="5154"/>
            <ac:spMk id="25" creationId="{5079FE47-599C-A134-BD23-C4276CD45296}"/>
          </ac:spMkLst>
        </pc:spChg>
        <pc:spChg chg="mod">
          <ac:chgData name="Jacob, Karen (SPAC/PSPC) (elle-la / she-her)" userId="66e9cce0-e37b-4645-a907-f7690bd68dfb" providerId="ADAL" clId="{A3599A74-B049-44EE-8670-DE420CF3148A}" dt="2024-10-18T15:12:05.311" v="5544"/>
          <ac:spMkLst>
            <pc:docMk/>
            <pc:sldMk cId="1022071146" sldId="5154"/>
            <ac:spMk id="26" creationId="{2D8DBA23-B5AA-7C7E-5352-85936063FD93}"/>
          </ac:spMkLst>
        </pc:spChg>
        <pc:spChg chg="mod">
          <ac:chgData name="Jacob, Karen (SPAC/PSPC) (elle-la / she-her)" userId="66e9cce0-e37b-4645-a907-f7690bd68dfb" providerId="ADAL" clId="{A3599A74-B049-44EE-8670-DE420CF3148A}" dt="2024-10-18T15:12:05.311" v="5544"/>
          <ac:spMkLst>
            <pc:docMk/>
            <pc:sldMk cId="1022071146" sldId="5154"/>
            <ac:spMk id="27" creationId="{3E44F633-6A18-C683-ECF0-C9ADF10A6E19}"/>
          </ac:spMkLst>
        </pc:spChg>
        <pc:spChg chg="mod">
          <ac:chgData name="Jacob, Karen (SPAC/PSPC) (elle-la / she-her)" userId="66e9cce0-e37b-4645-a907-f7690bd68dfb" providerId="ADAL" clId="{A3599A74-B049-44EE-8670-DE420CF3148A}" dt="2024-10-18T15:12:05.311" v="5544"/>
          <ac:spMkLst>
            <pc:docMk/>
            <pc:sldMk cId="1022071146" sldId="5154"/>
            <ac:spMk id="28" creationId="{121E2F39-5F17-5BE0-0611-09179169AC61}"/>
          </ac:spMkLst>
        </pc:spChg>
        <pc:spChg chg="mod">
          <ac:chgData name="Jacob, Karen (SPAC/PSPC) (elle-la / she-her)" userId="66e9cce0-e37b-4645-a907-f7690bd68dfb" providerId="ADAL" clId="{A3599A74-B049-44EE-8670-DE420CF3148A}" dt="2024-10-18T15:12:05.311" v="5544"/>
          <ac:spMkLst>
            <pc:docMk/>
            <pc:sldMk cId="1022071146" sldId="5154"/>
            <ac:spMk id="29" creationId="{12C3754B-981F-6B16-F1BE-8BB0D99D64AF}"/>
          </ac:spMkLst>
        </pc:spChg>
        <pc:spChg chg="mod">
          <ac:chgData name="Jacob, Karen (SPAC/PSPC) (elle-la / she-her)" userId="66e9cce0-e37b-4645-a907-f7690bd68dfb" providerId="ADAL" clId="{A3599A74-B049-44EE-8670-DE420CF3148A}" dt="2024-10-18T15:12:05.311" v="5544"/>
          <ac:spMkLst>
            <pc:docMk/>
            <pc:sldMk cId="1022071146" sldId="5154"/>
            <ac:spMk id="30" creationId="{A771D895-B308-1CD3-1977-394DE6E698B4}"/>
          </ac:spMkLst>
        </pc:spChg>
        <pc:spChg chg="mod">
          <ac:chgData name="Jacob, Karen (SPAC/PSPC) (elle-la / she-her)" userId="66e9cce0-e37b-4645-a907-f7690bd68dfb" providerId="ADAL" clId="{A3599A74-B049-44EE-8670-DE420CF3148A}" dt="2024-10-18T15:12:05.311" v="5544"/>
          <ac:spMkLst>
            <pc:docMk/>
            <pc:sldMk cId="1022071146" sldId="5154"/>
            <ac:spMk id="31" creationId="{FF523CDD-A188-0AF8-9753-BA8B4EDA9277}"/>
          </ac:spMkLst>
        </pc:spChg>
        <pc:spChg chg="mod">
          <ac:chgData name="Jacob, Karen (SPAC/PSPC) (elle-la / she-her)" userId="66e9cce0-e37b-4645-a907-f7690bd68dfb" providerId="ADAL" clId="{A3599A74-B049-44EE-8670-DE420CF3148A}" dt="2024-10-18T15:12:05.311" v="5544"/>
          <ac:spMkLst>
            <pc:docMk/>
            <pc:sldMk cId="1022071146" sldId="5154"/>
            <ac:spMk id="32" creationId="{EFA1AC29-92D2-20E7-13DC-4F7BBD377B89}"/>
          </ac:spMkLst>
        </pc:spChg>
        <pc:spChg chg="mod">
          <ac:chgData name="Jacob, Karen (SPAC/PSPC) (elle-la / she-her)" userId="66e9cce0-e37b-4645-a907-f7690bd68dfb" providerId="ADAL" clId="{A3599A74-B049-44EE-8670-DE420CF3148A}" dt="2024-10-18T15:12:05.311" v="5544"/>
          <ac:spMkLst>
            <pc:docMk/>
            <pc:sldMk cId="1022071146" sldId="5154"/>
            <ac:spMk id="33" creationId="{17708D04-DFD1-3AA8-5438-2ABED82E0784}"/>
          </ac:spMkLst>
        </pc:spChg>
        <pc:spChg chg="mod">
          <ac:chgData name="Jacob, Karen (SPAC/PSPC) (elle-la / she-her)" userId="66e9cce0-e37b-4645-a907-f7690bd68dfb" providerId="ADAL" clId="{A3599A74-B049-44EE-8670-DE420CF3148A}" dt="2024-10-18T15:12:05.311" v="5544"/>
          <ac:spMkLst>
            <pc:docMk/>
            <pc:sldMk cId="1022071146" sldId="5154"/>
            <ac:spMk id="34" creationId="{5D52573B-7A52-96DF-FE8D-BDAF691182CA}"/>
          </ac:spMkLst>
        </pc:spChg>
        <pc:spChg chg="mod">
          <ac:chgData name="Jacob, Karen (SPAC/PSPC) (elle-la / she-her)" userId="66e9cce0-e37b-4645-a907-f7690bd68dfb" providerId="ADAL" clId="{A3599A74-B049-44EE-8670-DE420CF3148A}" dt="2024-10-18T15:12:05.311" v="5544"/>
          <ac:spMkLst>
            <pc:docMk/>
            <pc:sldMk cId="1022071146" sldId="5154"/>
            <ac:spMk id="35" creationId="{CF0739C7-09B9-EB4C-D223-070BF1267B17}"/>
          </ac:spMkLst>
        </pc:spChg>
        <pc:spChg chg="mod">
          <ac:chgData name="Jacob, Karen (SPAC/PSPC) (elle-la / she-her)" userId="66e9cce0-e37b-4645-a907-f7690bd68dfb" providerId="ADAL" clId="{A3599A74-B049-44EE-8670-DE420CF3148A}" dt="2024-10-18T15:12:05.311" v="5544"/>
          <ac:spMkLst>
            <pc:docMk/>
            <pc:sldMk cId="1022071146" sldId="5154"/>
            <ac:spMk id="36" creationId="{1EBFC678-0DB9-A4EB-AF0F-2895CB3F2C1E}"/>
          </ac:spMkLst>
        </pc:spChg>
        <pc:spChg chg="mod">
          <ac:chgData name="Jacob, Karen (SPAC/PSPC) (elle-la / she-her)" userId="66e9cce0-e37b-4645-a907-f7690bd68dfb" providerId="ADAL" clId="{A3599A74-B049-44EE-8670-DE420CF3148A}" dt="2024-10-18T15:12:05.311" v="5544"/>
          <ac:spMkLst>
            <pc:docMk/>
            <pc:sldMk cId="1022071146" sldId="5154"/>
            <ac:spMk id="37" creationId="{7E3B3FA9-E209-8C5B-B9BF-1CBC00206948}"/>
          </ac:spMkLst>
        </pc:spChg>
        <pc:spChg chg="mod">
          <ac:chgData name="Jacob, Karen (SPAC/PSPC) (elle-la / she-her)" userId="66e9cce0-e37b-4645-a907-f7690bd68dfb" providerId="ADAL" clId="{A3599A74-B049-44EE-8670-DE420CF3148A}" dt="2024-10-18T15:12:05.311" v="5544"/>
          <ac:spMkLst>
            <pc:docMk/>
            <pc:sldMk cId="1022071146" sldId="5154"/>
            <ac:spMk id="38" creationId="{B6507E11-EC29-4E46-39AD-4BB6E38FB301}"/>
          </ac:spMkLst>
        </pc:spChg>
        <pc:spChg chg="mod">
          <ac:chgData name="Jacob, Karen (SPAC/PSPC) (elle-la / she-her)" userId="66e9cce0-e37b-4645-a907-f7690bd68dfb" providerId="ADAL" clId="{A3599A74-B049-44EE-8670-DE420CF3148A}" dt="2024-10-18T15:12:05.311" v="5544"/>
          <ac:spMkLst>
            <pc:docMk/>
            <pc:sldMk cId="1022071146" sldId="5154"/>
            <ac:spMk id="39" creationId="{C7469CDD-D524-16E5-551D-01955F32196C}"/>
          </ac:spMkLst>
        </pc:spChg>
        <pc:spChg chg="mod">
          <ac:chgData name="Jacob, Karen (SPAC/PSPC) (elle-la / she-her)" userId="66e9cce0-e37b-4645-a907-f7690bd68dfb" providerId="ADAL" clId="{A3599A74-B049-44EE-8670-DE420CF3148A}" dt="2024-10-18T15:12:05.311" v="5544"/>
          <ac:spMkLst>
            <pc:docMk/>
            <pc:sldMk cId="1022071146" sldId="5154"/>
            <ac:spMk id="40" creationId="{F7C5741F-5578-1AF1-4851-0A486B3F686F}"/>
          </ac:spMkLst>
        </pc:spChg>
        <pc:spChg chg="mod">
          <ac:chgData name="Jacob, Karen (SPAC/PSPC) (elle-la / she-her)" userId="66e9cce0-e37b-4645-a907-f7690bd68dfb" providerId="ADAL" clId="{A3599A74-B049-44EE-8670-DE420CF3148A}" dt="2024-10-18T15:12:05.311" v="5544"/>
          <ac:spMkLst>
            <pc:docMk/>
            <pc:sldMk cId="1022071146" sldId="5154"/>
            <ac:spMk id="41" creationId="{CC7386CC-0505-DBCC-AF06-AFA69ED717C9}"/>
          </ac:spMkLst>
        </pc:spChg>
        <pc:spChg chg="mod">
          <ac:chgData name="Jacob, Karen (SPAC/PSPC) (elle-la / she-her)" userId="66e9cce0-e37b-4645-a907-f7690bd68dfb" providerId="ADAL" clId="{A3599A74-B049-44EE-8670-DE420CF3148A}" dt="2024-10-18T15:12:05.311" v="5544"/>
          <ac:spMkLst>
            <pc:docMk/>
            <pc:sldMk cId="1022071146" sldId="5154"/>
            <ac:spMk id="42" creationId="{BE4A57EE-E044-A301-EF2C-BED0F57FA70A}"/>
          </ac:spMkLst>
        </pc:spChg>
        <pc:spChg chg="mod">
          <ac:chgData name="Jacob, Karen (SPAC/PSPC) (elle-la / she-her)" userId="66e9cce0-e37b-4645-a907-f7690bd68dfb" providerId="ADAL" clId="{A3599A74-B049-44EE-8670-DE420CF3148A}" dt="2024-10-18T15:12:05.311" v="5544"/>
          <ac:spMkLst>
            <pc:docMk/>
            <pc:sldMk cId="1022071146" sldId="5154"/>
            <ac:spMk id="43" creationId="{3F3E4707-9FC5-99ED-5D71-20C2D5994A81}"/>
          </ac:spMkLst>
        </pc:spChg>
        <pc:spChg chg="mod">
          <ac:chgData name="Jacob, Karen (SPAC/PSPC) (elle-la / she-her)" userId="66e9cce0-e37b-4645-a907-f7690bd68dfb" providerId="ADAL" clId="{A3599A74-B049-44EE-8670-DE420CF3148A}" dt="2024-10-18T15:12:05.311" v="5544"/>
          <ac:spMkLst>
            <pc:docMk/>
            <pc:sldMk cId="1022071146" sldId="5154"/>
            <ac:spMk id="44" creationId="{9A8EA917-3A44-7139-87AD-F9EC0728A680}"/>
          </ac:spMkLst>
        </pc:spChg>
        <pc:spChg chg="mod">
          <ac:chgData name="Jacob, Karen (SPAC/PSPC) (elle-la / she-her)" userId="66e9cce0-e37b-4645-a907-f7690bd68dfb" providerId="ADAL" clId="{A3599A74-B049-44EE-8670-DE420CF3148A}" dt="2024-10-18T15:12:05.311" v="5544"/>
          <ac:spMkLst>
            <pc:docMk/>
            <pc:sldMk cId="1022071146" sldId="5154"/>
            <ac:spMk id="45" creationId="{FFC0B55C-39BF-5CAE-ED00-CF1AAB1A0E5C}"/>
          </ac:spMkLst>
        </pc:spChg>
        <pc:spChg chg="mod">
          <ac:chgData name="Jacob, Karen (SPAC/PSPC) (elle-la / she-her)" userId="66e9cce0-e37b-4645-a907-f7690bd68dfb" providerId="ADAL" clId="{A3599A74-B049-44EE-8670-DE420CF3148A}" dt="2024-10-18T15:12:05.311" v="5544"/>
          <ac:spMkLst>
            <pc:docMk/>
            <pc:sldMk cId="1022071146" sldId="5154"/>
            <ac:spMk id="46" creationId="{5DD1DF85-5880-3DBC-D19F-84A8C181A8D1}"/>
          </ac:spMkLst>
        </pc:spChg>
        <pc:spChg chg="mod">
          <ac:chgData name="Jacob, Karen (SPAC/PSPC) (elle-la / she-her)" userId="66e9cce0-e37b-4645-a907-f7690bd68dfb" providerId="ADAL" clId="{A3599A74-B049-44EE-8670-DE420CF3148A}" dt="2024-10-18T15:12:05.311" v="5544"/>
          <ac:spMkLst>
            <pc:docMk/>
            <pc:sldMk cId="1022071146" sldId="5154"/>
            <ac:spMk id="47" creationId="{88299F6F-8805-751B-ADEE-BF0CD75A6124}"/>
          </ac:spMkLst>
        </pc:spChg>
        <pc:spChg chg="mod">
          <ac:chgData name="Jacob, Karen (SPAC/PSPC) (elle-la / she-her)" userId="66e9cce0-e37b-4645-a907-f7690bd68dfb" providerId="ADAL" clId="{A3599A74-B049-44EE-8670-DE420CF3148A}" dt="2024-10-18T15:12:05.311" v="5544"/>
          <ac:spMkLst>
            <pc:docMk/>
            <pc:sldMk cId="1022071146" sldId="5154"/>
            <ac:spMk id="48" creationId="{CF64522E-403A-03F8-6A2C-40ED44B5E3A5}"/>
          </ac:spMkLst>
        </pc:spChg>
        <pc:spChg chg="mod">
          <ac:chgData name="Jacob, Karen (SPAC/PSPC) (elle-la / she-her)" userId="66e9cce0-e37b-4645-a907-f7690bd68dfb" providerId="ADAL" clId="{A3599A74-B049-44EE-8670-DE420CF3148A}" dt="2024-10-18T15:12:05.311" v="5544"/>
          <ac:spMkLst>
            <pc:docMk/>
            <pc:sldMk cId="1022071146" sldId="5154"/>
            <ac:spMk id="49" creationId="{91069B41-4C43-24DB-A809-E7DFB1ED4D14}"/>
          </ac:spMkLst>
        </pc:spChg>
        <pc:spChg chg="mod">
          <ac:chgData name="Jacob, Karen (SPAC/PSPC) (elle-la / she-her)" userId="66e9cce0-e37b-4645-a907-f7690bd68dfb" providerId="ADAL" clId="{A3599A74-B049-44EE-8670-DE420CF3148A}" dt="2024-10-18T15:12:05.311" v="5544"/>
          <ac:spMkLst>
            <pc:docMk/>
            <pc:sldMk cId="1022071146" sldId="5154"/>
            <ac:spMk id="50" creationId="{8B8149E1-0BA5-501B-D6DA-82553AFC8016}"/>
          </ac:spMkLst>
        </pc:spChg>
        <pc:spChg chg="mod">
          <ac:chgData name="Jacob, Karen (SPAC/PSPC) (elle-la / she-her)" userId="66e9cce0-e37b-4645-a907-f7690bd68dfb" providerId="ADAL" clId="{A3599A74-B049-44EE-8670-DE420CF3148A}" dt="2024-10-18T15:12:05.311" v="5544"/>
          <ac:spMkLst>
            <pc:docMk/>
            <pc:sldMk cId="1022071146" sldId="5154"/>
            <ac:spMk id="51" creationId="{2C429B3A-B535-189D-44AB-C000227A8D66}"/>
          </ac:spMkLst>
        </pc:spChg>
        <pc:spChg chg="mod">
          <ac:chgData name="Jacob, Karen (SPAC/PSPC) (elle-la / she-her)" userId="66e9cce0-e37b-4645-a907-f7690bd68dfb" providerId="ADAL" clId="{A3599A74-B049-44EE-8670-DE420CF3148A}" dt="2024-10-18T15:12:05.311" v="5544"/>
          <ac:spMkLst>
            <pc:docMk/>
            <pc:sldMk cId="1022071146" sldId="5154"/>
            <ac:spMk id="52" creationId="{03EAD489-B340-22F1-3DE1-27FC20B4E430}"/>
          </ac:spMkLst>
        </pc:spChg>
        <pc:spChg chg="mod">
          <ac:chgData name="Jacob, Karen (SPAC/PSPC) (elle-la / she-her)" userId="66e9cce0-e37b-4645-a907-f7690bd68dfb" providerId="ADAL" clId="{A3599A74-B049-44EE-8670-DE420CF3148A}" dt="2024-10-18T15:12:05.311" v="5544"/>
          <ac:spMkLst>
            <pc:docMk/>
            <pc:sldMk cId="1022071146" sldId="5154"/>
            <ac:spMk id="53" creationId="{BC7BDEC7-21A8-687C-5FF8-DE2D5E7D5C21}"/>
          </ac:spMkLst>
        </pc:spChg>
        <pc:spChg chg="mod">
          <ac:chgData name="Jacob, Karen (SPAC/PSPC) (elle-la / she-her)" userId="66e9cce0-e37b-4645-a907-f7690bd68dfb" providerId="ADAL" clId="{A3599A74-B049-44EE-8670-DE420CF3148A}" dt="2024-10-18T15:12:05.311" v="5544"/>
          <ac:spMkLst>
            <pc:docMk/>
            <pc:sldMk cId="1022071146" sldId="5154"/>
            <ac:spMk id="54" creationId="{E5A8D4AB-7BB9-2ADB-170D-5AE12AE11CB3}"/>
          </ac:spMkLst>
        </pc:spChg>
        <pc:spChg chg="mod">
          <ac:chgData name="Jacob, Karen (SPAC/PSPC) (elle-la / she-her)" userId="66e9cce0-e37b-4645-a907-f7690bd68dfb" providerId="ADAL" clId="{A3599A74-B049-44EE-8670-DE420CF3148A}" dt="2024-10-18T15:12:05.311" v="5544"/>
          <ac:spMkLst>
            <pc:docMk/>
            <pc:sldMk cId="1022071146" sldId="5154"/>
            <ac:spMk id="55" creationId="{DC8FA3CD-28D1-49A1-BC5D-FFAD3A62B81B}"/>
          </ac:spMkLst>
        </pc:spChg>
        <pc:spChg chg="mod">
          <ac:chgData name="Jacob, Karen (SPAC/PSPC) (elle-la / she-her)" userId="66e9cce0-e37b-4645-a907-f7690bd68dfb" providerId="ADAL" clId="{A3599A74-B049-44EE-8670-DE420CF3148A}" dt="2024-10-18T15:12:05.311" v="5544"/>
          <ac:spMkLst>
            <pc:docMk/>
            <pc:sldMk cId="1022071146" sldId="5154"/>
            <ac:spMk id="56" creationId="{9F4FB8C1-A356-D30E-93D3-683F071FCBE9}"/>
          </ac:spMkLst>
        </pc:spChg>
        <pc:spChg chg="mod">
          <ac:chgData name="Jacob, Karen (SPAC/PSPC) (elle-la / she-her)" userId="66e9cce0-e37b-4645-a907-f7690bd68dfb" providerId="ADAL" clId="{A3599A74-B049-44EE-8670-DE420CF3148A}" dt="2024-10-18T15:12:05.311" v="5544"/>
          <ac:spMkLst>
            <pc:docMk/>
            <pc:sldMk cId="1022071146" sldId="5154"/>
            <ac:spMk id="57" creationId="{C59489DA-E253-C358-8ABF-D485D1356380}"/>
          </ac:spMkLst>
        </pc:spChg>
        <pc:spChg chg="mod">
          <ac:chgData name="Jacob, Karen (SPAC/PSPC) (elle-la / she-her)" userId="66e9cce0-e37b-4645-a907-f7690bd68dfb" providerId="ADAL" clId="{A3599A74-B049-44EE-8670-DE420CF3148A}" dt="2024-10-18T15:12:05.311" v="5544"/>
          <ac:spMkLst>
            <pc:docMk/>
            <pc:sldMk cId="1022071146" sldId="5154"/>
            <ac:spMk id="58" creationId="{4BE8A6E3-909C-1ED0-D24B-1794F09C4ECC}"/>
          </ac:spMkLst>
        </pc:spChg>
        <pc:spChg chg="mod">
          <ac:chgData name="Jacob, Karen (SPAC/PSPC) (elle-la / she-her)" userId="66e9cce0-e37b-4645-a907-f7690bd68dfb" providerId="ADAL" clId="{A3599A74-B049-44EE-8670-DE420CF3148A}" dt="2024-10-18T15:12:05.311" v="5544"/>
          <ac:spMkLst>
            <pc:docMk/>
            <pc:sldMk cId="1022071146" sldId="5154"/>
            <ac:spMk id="59" creationId="{160101F8-D1B5-7A9F-DDE2-14BD9EBC1567}"/>
          </ac:spMkLst>
        </pc:spChg>
        <pc:spChg chg="mod">
          <ac:chgData name="Jacob, Karen (SPAC/PSPC) (elle-la / she-her)" userId="66e9cce0-e37b-4645-a907-f7690bd68dfb" providerId="ADAL" clId="{A3599A74-B049-44EE-8670-DE420CF3148A}" dt="2024-10-18T15:12:05.311" v="5544"/>
          <ac:spMkLst>
            <pc:docMk/>
            <pc:sldMk cId="1022071146" sldId="5154"/>
            <ac:spMk id="60" creationId="{A4C07864-39AF-05FD-0931-D0AB139277AE}"/>
          </ac:spMkLst>
        </pc:spChg>
        <pc:spChg chg="mod">
          <ac:chgData name="Jacob, Karen (SPAC/PSPC) (elle-la / she-her)" userId="66e9cce0-e37b-4645-a907-f7690bd68dfb" providerId="ADAL" clId="{A3599A74-B049-44EE-8670-DE420CF3148A}" dt="2024-10-18T15:12:05.311" v="5544"/>
          <ac:spMkLst>
            <pc:docMk/>
            <pc:sldMk cId="1022071146" sldId="5154"/>
            <ac:spMk id="61" creationId="{30BF5EA7-5212-3614-E451-F9F88930001B}"/>
          </ac:spMkLst>
        </pc:spChg>
        <pc:spChg chg="mod">
          <ac:chgData name="Jacob, Karen (SPAC/PSPC) (elle-la / she-her)" userId="66e9cce0-e37b-4645-a907-f7690bd68dfb" providerId="ADAL" clId="{A3599A74-B049-44EE-8670-DE420CF3148A}" dt="2024-10-18T15:12:05.311" v="5544"/>
          <ac:spMkLst>
            <pc:docMk/>
            <pc:sldMk cId="1022071146" sldId="5154"/>
            <ac:spMk id="62" creationId="{5A4AC6CC-0A70-0090-5EE6-5194EA0EF4BE}"/>
          </ac:spMkLst>
        </pc:spChg>
        <pc:spChg chg="mod">
          <ac:chgData name="Jacob, Karen (SPAC/PSPC) (elle-la / she-her)" userId="66e9cce0-e37b-4645-a907-f7690bd68dfb" providerId="ADAL" clId="{A3599A74-B049-44EE-8670-DE420CF3148A}" dt="2024-10-18T15:12:05.311" v="5544"/>
          <ac:spMkLst>
            <pc:docMk/>
            <pc:sldMk cId="1022071146" sldId="5154"/>
            <ac:spMk id="63" creationId="{9EF6C6AC-EACC-775A-A522-D3F0B539A731}"/>
          </ac:spMkLst>
        </pc:spChg>
        <pc:spChg chg="mod">
          <ac:chgData name="Jacob, Karen (SPAC/PSPC) (elle-la / she-her)" userId="66e9cce0-e37b-4645-a907-f7690bd68dfb" providerId="ADAL" clId="{A3599A74-B049-44EE-8670-DE420CF3148A}" dt="2024-10-18T15:12:05.311" v="5544"/>
          <ac:spMkLst>
            <pc:docMk/>
            <pc:sldMk cId="1022071146" sldId="5154"/>
            <ac:spMk id="64" creationId="{753D1356-E641-08F0-A7BF-D43488B0F670}"/>
          </ac:spMkLst>
        </pc:spChg>
        <pc:spChg chg="mod">
          <ac:chgData name="Jacob, Karen (SPAC/PSPC) (elle-la / she-her)" userId="66e9cce0-e37b-4645-a907-f7690bd68dfb" providerId="ADAL" clId="{A3599A74-B049-44EE-8670-DE420CF3148A}" dt="2024-10-18T15:12:05.311" v="5544"/>
          <ac:spMkLst>
            <pc:docMk/>
            <pc:sldMk cId="1022071146" sldId="5154"/>
            <ac:spMk id="65" creationId="{FC5202A0-3821-48D2-A1FE-93D546BB1D4C}"/>
          </ac:spMkLst>
        </pc:spChg>
        <pc:spChg chg="del mod">
          <ac:chgData name="Jacob, Karen (SPAC/PSPC) (elle-la / she-her)" userId="66e9cce0-e37b-4645-a907-f7690bd68dfb" providerId="ADAL" clId="{A3599A74-B049-44EE-8670-DE420CF3148A}" dt="2024-10-18T15:13:12.940" v="5616" actId="478"/>
          <ac:spMkLst>
            <pc:docMk/>
            <pc:sldMk cId="1022071146" sldId="5154"/>
            <ac:spMk id="67" creationId="{75E41646-B4F7-C399-46BE-7EEC318F086F}"/>
          </ac:spMkLst>
        </pc:spChg>
        <pc:spChg chg="del mod">
          <ac:chgData name="Jacob, Karen (SPAC/PSPC) (elle-la / she-her)" userId="66e9cce0-e37b-4645-a907-f7690bd68dfb" providerId="ADAL" clId="{A3599A74-B049-44EE-8670-DE420CF3148A}" dt="2024-10-18T15:12:52.723" v="5609" actId="478"/>
          <ac:spMkLst>
            <pc:docMk/>
            <pc:sldMk cId="1022071146" sldId="5154"/>
            <ac:spMk id="68" creationId="{78105B75-EBA8-377E-E6B0-C32A3487E048}"/>
          </ac:spMkLst>
        </pc:spChg>
        <pc:spChg chg="del mod">
          <ac:chgData name="Jacob, Karen (SPAC/PSPC) (elle-la / she-her)" userId="66e9cce0-e37b-4645-a907-f7690bd68dfb" providerId="ADAL" clId="{A3599A74-B049-44EE-8670-DE420CF3148A}" dt="2024-10-18T15:12:50.258" v="5608" actId="478"/>
          <ac:spMkLst>
            <pc:docMk/>
            <pc:sldMk cId="1022071146" sldId="5154"/>
            <ac:spMk id="69" creationId="{00D0A6DB-F521-3EF0-0116-797FD609C70F}"/>
          </ac:spMkLst>
        </pc:spChg>
        <pc:spChg chg="del mod">
          <ac:chgData name="Jacob, Karen (SPAC/PSPC) (elle-la / she-her)" userId="66e9cce0-e37b-4645-a907-f7690bd68dfb" providerId="ADAL" clId="{A3599A74-B049-44EE-8670-DE420CF3148A}" dt="2024-10-18T15:12:48.369" v="5607" actId="478"/>
          <ac:spMkLst>
            <pc:docMk/>
            <pc:sldMk cId="1022071146" sldId="5154"/>
            <ac:spMk id="70" creationId="{44292BE3-E343-155A-BBA8-3D2F2EDBBD09}"/>
          </ac:spMkLst>
        </pc:spChg>
        <pc:spChg chg="del mod">
          <ac:chgData name="Jacob, Karen (SPAC/PSPC) (elle-la / she-her)" userId="66e9cce0-e37b-4645-a907-f7690bd68dfb" providerId="ADAL" clId="{A3599A74-B049-44EE-8670-DE420CF3148A}" dt="2024-10-18T15:12:41.780" v="5603" actId="478"/>
          <ac:spMkLst>
            <pc:docMk/>
            <pc:sldMk cId="1022071146" sldId="5154"/>
            <ac:spMk id="71" creationId="{DCE0A065-EB02-B569-14CF-7BBC3E5A733D}"/>
          </ac:spMkLst>
        </pc:spChg>
        <pc:spChg chg="del mod">
          <ac:chgData name="Jacob, Karen (SPAC/PSPC) (elle-la / she-her)" userId="66e9cce0-e37b-4645-a907-f7690bd68dfb" providerId="ADAL" clId="{A3599A74-B049-44EE-8670-DE420CF3148A}" dt="2024-10-18T15:12:57.528" v="5611" actId="478"/>
          <ac:spMkLst>
            <pc:docMk/>
            <pc:sldMk cId="1022071146" sldId="5154"/>
            <ac:spMk id="72" creationId="{7E3C4F5F-CC68-BC23-1B1F-5AAFB12D993F}"/>
          </ac:spMkLst>
        </pc:spChg>
        <pc:spChg chg="del mod">
          <ac:chgData name="Jacob, Karen (SPAC/PSPC) (elle-la / she-her)" userId="66e9cce0-e37b-4645-a907-f7690bd68dfb" providerId="ADAL" clId="{A3599A74-B049-44EE-8670-DE420CF3148A}" dt="2024-10-18T15:13:30.853" v="5619" actId="478"/>
          <ac:spMkLst>
            <pc:docMk/>
            <pc:sldMk cId="1022071146" sldId="5154"/>
            <ac:spMk id="74" creationId="{7A723C08-B430-F89F-891B-16F547E1A41D}"/>
          </ac:spMkLst>
        </pc:spChg>
        <pc:spChg chg="del mod">
          <ac:chgData name="Jacob, Karen (SPAC/PSPC) (elle-la / she-her)" userId="66e9cce0-e37b-4645-a907-f7690bd68dfb" providerId="ADAL" clId="{A3599A74-B049-44EE-8670-DE420CF3148A}" dt="2024-10-18T15:13:10.468" v="5615" actId="478"/>
          <ac:spMkLst>
            <pc:docMk/>
            <pc:sldMk cId="1022071146" sldId="5154"/>
            <ac:spMk id="75" creationId="{EA14F068-13B3-B4BE-D892-A83CA5D09395}"/>
          </ac:spMkLst>
        </pc:spChg>
        <pc:spChg chg="del mod">
          <ac:chgData name="Jacob, Karen (SPAC/PSPC) (elle-la / she-her)" userId="66e9cce0-e37b-4645-a907-f7690bd68dfb" providerId="ADAL" clId="{A3599A74-B049-44EE-8670-DE420CF3148A}" dt="2024-10-18T15:16:21.943" v="5803" actId="478"/>
          <ac:spMkLst>
            <pc:docMk/>
            <pc:sldMk cId="1022071146" sldId="5154"/>
            <ac:spMk id="76" creationId="{023EBBE9-6AF2-3941-D435-6543074A435C}"/>
          </ac:spMkLst>
        </pc:spChg>
        <pc:spChg chg="mod">
          <ac:chgData name="Jacob, Karen (SPAC/PSPC) (elle-la / she-her)" userId="66e9cce0-e37b-4645-a907-f7690bd68dfb" providerId="ADAL" clId="{A3599A74-B049-44EE-8670-DE420CF3148A}" dt="2024-10-18T15:12:05.311" v="5544"/>
          <ac:spMkLst>
            <pc:docMk/>
            <pc:sldMk cId="1022071146" sldId="5154"/>
            <ac:spMk id="78" creationId="{057E7B1D-D7C7-9460-3484-E41EF154A9B2}"/>
          </ac:spMkLst>
        </pc:spChg>
        <pc:spChg chg="mod">
          <ac:chgData name="Jacob, Karen (SPAC/PSPC) (elle-la / she-her)" userId="66e9cce0-e37b-4645-a907-f7690bd68dfb" providerId="ADAL" clId="{A3599A74-B049-44EE-8670-DE420CF3148A}" dt="2024-10-18T15:12:05.311" v="5544"/>
          <ac:spMkLst>
            <pc:docMk/>
            <pc:sldMk cId="1022071146" sldId="5154"/>
            <ac:spMk id="79" creationId="{8FCD9700-1C2E-305F-C2D7-D1F22165A204}"/>
          </ac:spMkLst>
        </pc:spChg>
        <pc:spChg chg="mod">
          <ac:chgData name="Jacob, Karen (SPAC/PSPC) (elle-la / she-her)" userId="66e9cce0-e37b-4645-a907-f7690bd68dfb" providerId="ADAL" clId="{A3599A74-B049-44EE-8670-DE420CF3148A}" dt="2024-10-18T15:12:05.311" v="5544"/>
          <ac:spMkLst>
            <pc:docMk/>
            <pc:sldMk cId="1022071146" sldId="5154"/>
            <ac:spMk id="80" creationId="{AA9F00D5-1806-DACE-5D3E-92DD37C22826}"/>
          </ac:spMkLst>
        </pc:spChg>
        <pc:spChg chg="mod">
          <ac:chgData name="Jacob, Karen (SPAC/PSPC) (elle-la / she-her)" userId="66e9cce0-e37b-4645-a907-f7690bd68dfb" providerId="ADAL" clId="{A3599A74-B049-44EE-8670-DE420CF3148A}" dt="2024-10-18T15:12:05.311" v="5544"/>
          <ac:spMkLst>
            <pc:docMk/>
            <pc:sldMk cId="1022071146" sldId="5154"/>
            <ac:spMk id="81" creationId="{91B53DBD-4316-9F02-791B-A39F96719240}"/>
          </ac:spMkLst>
        </pc:spChg>
        <pc:spChg chg="mod">
          <ac:chgData name="Jacob, Karen (SPAC/PSPC) (elle-la / she-her)" userId="66e9cce0-e37b-4645-a907-f7690bd68dfb" providerId="ADAL" clId="{A3599A74-B049-44EE-8670-DE420CF3148A}" dt="2024-10-18T15:12:05.311" v="5544"/>
          <ac:spMkLst>
            <pc:docMk/>
            <pc:sldMk cId="1022071146" sldId="5154"/>
            <ac:spMk id="82" creationId="{6667D5C5-60C1-EF39-A34A-68A894525C14}"/>
          </ac:spMkLst>
        </pc:spChg>
        <pc:spChg chg="mod">
          <ac:chgData name="Jacob, Karen (SPAC/PSPC) (elle-la / she-her)" userId="66e9cce0-e37b-4645-a907-f7690bd68dfb" providerId="ADAL" clId="{A3599A74-B049-44EE-8670-DE420CF3148A}" dt="2024-10-18T15:12:05.311" v="5544"/>
          <ac:spMkLst>
            <pc:docMk/>
            <pc:sldMk cId="1022071146" sldId="5154"/>
            <ac:spMk id="83" creationId="{BD636ECB-7C44-CBB6-D835-F5EEC0FDB5E7}"/>
          </ac:spMkLst>
        </pc:spChg>
        <pc:spChg chg="mod">
          <ac:chgData name="Jacob, Karen (SPAC/PSPC) (elle-la / she-her)" userId="66e9cce0-e37b-4645-a907-f7690bd68dfb" providerId="ADAL" clId="{A3599A74-B049-44EE-8670-DE420CF3148A}" dt="2024-10-18T15:17:24.077" v="5847" actId="20577"/>
          <ac:spMkLst>
            <pc:docMk/>
            <pc:sldMk cId="1022071146" sldId="5154"/>
            <ac:spMk id="84" creationId="{2B0328CC-C16A-56CA-D000-EA18226D76E5}"/>
          </ac:spMkLst>
        </pc:spChg>
        <pc:spChg chg="mod">
          <ac:chgData name="Jacob, Karen (SPAC/PSPC) (elle-la / she-her)" userId="66e9cce0-e37b-4645-a907-f7690bd68dfb" providerId="ADAL" clId="{A3599A74-B049-44EE-8670-DE420CF3148A}" dt="2024-10-18T15:17:27.896" v="5849" actId="20577"/>
          <ac:spMkLst>
            <pc:docMk/>
            <pc:sldMk cId="1022071146" sldId="5154"/>
            <ac:spMk id="85" creationId="{5BF43345-89A2-8BD1-AAB5-685CC2838D7D}"/>
          </ac:spMkLst>
        </pc:spChg>
        <pc:spChg chg="mod">
          <ac:chgData name="Jacob, Karen (SPAC/PSPC) (elle-la / she-her)" userId="66e9cce0-e37b-4645-a907-f7690bd68dfb" providerId="ADAL" clId="{A3599A74-B049-44EE-8670-DE420CF3148A}" dt="2024-10-18T15:14:08.305" v="5644" actId="1076"/>
          <ac:spMkLst>
            <pc:docMk/>
            <pc:sldMk cId="1022071146" sldId="5154"/>
            <ac:spMk id="86" creationId="{36F3A7BC-2D1A-741B-822A-079CEF79C39F}"/>
          </ac:spMkLst>
        </pc:spChg>
        <pc:spChg chg="mod">
          <ac:chgData name="Jacob, Karen (SPAC/PSPC) (elle-la / she-her)" userId="66e9cce0-e37b-4645-a907-f7690bd68dfb" providerId="ADAL" clId="{A3599A74-B049-44EE-8670-DE420CF3148A}" dt="2024-10-18T15:17:31.695" v="5856" actId="20577"/>
          <ac:spMkLst>
            <pc:docMk/>
            <pc:sldMk cId="1022071146" sldId="5154"/>
            <ac:spMk id="87" creationId="{A98FC754-5F9D-A6AB-8070-6E366FA59DE0}"/>
          </ac:spMkLst>
        </pc:spChg>
        <pc:spChg chg="mod">
          <ac:chgData name="Jacob, Karen (SPAC/PSPC) (elle-la / she-her)" userId="66e9cce0-e37b-4645-a907-f7690bd68dfb" providerId="ADAL" clId="{A3599A74-B049-44EE-8670-DE420CF3148A}" dt="2024-10-18T15:17:34.973" v="5858" actId="20577"/>
          <ac:spMkLst>
            <pc:docMk/>
            <pc:sldMk cId="1022071146" sldId="5154"/>
            <ac:spMk id="88" creationId="{A6684F48-A2FE-496D-6BD2-6AF0B6FF503C}"/>
          </ac:spMkLst>
        </pc:spChg>
        <pc:spChg chg="mod">
          <ac:chgData name="Jacob, Karen (SPAC/PSPC) (elle-la / she-her)" userId="66e9cce0-e37b-4645-a907-f7690bd68dfb" providerId="ADAL" clId="{A3599A74-B049-44EE-8670-DE420CF3148A}" dt="2024-10-18T15:17:03.567" v="5816" actId="1036"/>
          <ac:spMkLst>
            <pc:docMk/>
            <pc:sldMk cId="1022071146" sldId="5154"/>
            <ac:spMk id="89" creationId="{CF1A0002-EC31-0B3E-FF8A-584706C6E1CD}"/>
          </ac:spMkLst>
        </pc:spChg>
        <pc:spChg chg="del mod">
          <ac:chgData name="Jacob, Karen (SPAC/PSPC) (elle-la / she-her)" userId="66e9cce0-e37b-4645-a907-f7690bd68dfb" providerId="ADAL" clId="{A3599A74-B049-44EE-8670-DE420CF3148A}" dt="2024-10-18T15:16:17.087" v="5802" actId="478"/>
          <ac:spMkLst>
            <pc:docMk/>
            <pc:sldMk cId="1022071146" sldId="5154"/>
            <ac:spMk id="90" creationId="{0AC2C530-5C63-88FA-D6BD-2EFCE3D447A0}"/>
          </ac:spMkLst>
        </pc:spChg>
        <pc:spChg chg="add del mod">
          <ac:chgData name="Jacob, Karen (SPAC/PSPC) (elle-la / she-her)" userId="66e9cce0-e37b-4645-a907-f7690bd68dfb" providerId="ADAL" clId="{A3599A74-B049-44EE-8670-DE420CF3148A}" dt="2024-10-18T15:21:46.934" v="6401"/>
          <ac:spMkLst>
            <pc:docMk/>
            <pc:sldMk cId="1022071146" sldId="5154"/>
            <ac:spMk id="91" creationId="{0975DA56-3AD2-5C76-2A21-E9325DB5C995}"/>
          </ac:spMkLst>
        </pc:spChg>
        <pc:grpChg chg="add del mod">
          <ac:chgData name="Jacob, Karen (SPAC/PSPC) (elle-la / she-her)" userId="66e9cce0-e37b-4645-a907-f7690bd68dfb" providerId="ADAL" clId="{A3599A74-B049-44EE-8670-DE420CF3148A}" dt="2024-10-18T15:13:35.717" v="5620" actId="1076"/>
          <ac:grpSpMkLst>
            <pc:docMk/>
            <pc:sldMk cId="1022071146" sldId="5154"/>
            <ac:grpSpMk id="6" creationId="{416113E3-E9F4-0DEB-3045-FDE7ADC4CA45}"/>
          </ac:grpSpMkLst>
        </pc:grpChg>
        <pc:grpChg chg="del mod">
          <ac:chgData name="Jacob, Karen (SPAC/PSPC) (elle-la / she-her)" userId="66e9cce0-e37b-4645-a907-f7690bd68dfb" providerId="ADAL" clId="{A3599A74-B049-44EE-8670-DE420CF3148A}" dt="2024-10-18T15:16:21.943" v="5803" actId="478"/>
          <ac:grpSpMkLst>
            <pc:docMk/>
            <pc:sldMk cId="1022071146" sldId="5154"/>
            <ac:grpSpMk id="7" creationId="{F7285AD3-3E93-8D96-54B7-DD5F0E39D056}"/>
          </ac:grpSpMkLst>
        </pc:grpChg>
        <pc:grpChg chg="del mod">
          <ac:chgData name="Jacob, Karen (SPAC/PSPC) (elle-la / she-her)" userId="66e9cce0-e37b-4645-a907-f7690bd68dfb" providerId="ADAL" clId="{A3599A74-B049-44EE-8670-DE420CF3148A}" dt="2024-10-18T15:13:12.940" v="5616" actId="478"/>
          <ac:grpSpMkLst>
            <pc:docMk/>
            <pc:sldMk cId="1022071146" sldId="5154"/>
            <ac:grpSpMk id="8" creationId="{4162FF0D-3ACE-570F-2D94-1EECD9993F48}"/>
          </ac:grpSpMkLst>
        </pc:grpChg>
        <pc:grpChg chg="mod">
          <ac:chgData name="Jacob, Karen (SPAC/PSPC) (elle-la / she-her)" userId="66e9cce0-e37b-4645-a907-f7690bd68dfb" providerId="ADAL" clId="{A3599A74-B049-44EE-8670-DE420CF3148A}" dt="2024-10-18T15:12:05.311" v="5544"/>
          <ac:grpSpMkLst>
            <pc:docMk/>
            <pc:sldMk cId="1022071146" sldId="5154"/>
            <ac:grpSpMk id="10" creationId="{79080D31-DF36-CE33-848A-51E4A0F01CF4}"/>
          </ac:grpSpMkLst>
        </pc:grpChg>
        <pc:grpChg chg="mod">
          <ac:chgData name="Jacob, Karen (SPAC/PSPC) (elle-la / she-her)" userId="66e9cce0-e37b-4645-a907-f7690bd68dfb" providerId="ADAL" clId="{A3599A74-B049-44EE-8670-DE420CF3148A}" dt="2024-10-18T15:12:05.311" v="5544"/>
          <ac:grpSpMkLst>
            <pc:docMk/>
            <pc:sldMk cId="1022071146" sldId="5154"/>
            <ac:grpSpMk id="17" creationId="{50A9A730-E35F-EC06-84BD-411425130433}"/>
          </ac:grpSpMkLst>
        </pc:grpChg>
        <pc:grpChg chg="mod">
          <ac:chgData name="Jacob, Karen (SPAC/PSPC) (elle-la / she-her)" userId="66e9cce0-e37b-4645-a907-f7690bd68dfb" providerId="ADAL" clId="{A3599A74-B049-44EE-8670-DE420CF3148A}" dt="2024-10-18T15:12:05.311" v="5544"/>
          <ac:grpSpMkLst>
            <pc:docMk/>
            <pc:sldMk cId="1022071146" sldId="5154"/>
            <ac:grpSpMk id="19" creationId="{43713B3D-D1AA-EA68-2BA8-6F6E9711A69A}"/>
          </ac:grpSpMkLst>
        </pc:grpChg>
        <pc:grpChg chg="mod">
          <ac:chgData name="Jacob, Karen (SPAC/PSPC) (elle-la / she-her)" userId="66e9cce0-e37b-4645-a907-f7690bd68dfb" providerId="ADAL" clId="{A3599A74-B049-44EE-8670-DE420CF3148A}" dt="2024-10-18T15:12:05.311" v="5544"/>
          <ac:grpSpMkLst>
            <pc:docMk/>
            <pc:sldMk cId="1022071146" sldId="5154"/>
            <ac:grpSpMk id="22" creationId="{0AB390BF-7008-068F-6AE5-832A8CF4B9AE}"/>
          </ac:grpSpMkLst>
        </pc:grpChg>
        <pc:grpChg chg="del mod">
          <ac:chgData name="Jacob, Karen (SPAC/PSPC) (elle-la / she-her)" userId="66e9cce0-e37b-4645-a907-f7690bd68dfb" providerId="ADAL" clId="{A3599A74-B049-44EE-8670-DE420CF3148A}" dt="2024-10-18T15:13:10.468" v="5615" actId="478"/>
          <ac:grpSpMkLst>
            <pc:docMk/>
            <pc:sldMk cId="1022071146" sldId="5154"/>
            <ac:grpSpMk id="66" creationId="{64477B98-3E53-C48D-7EB9-80EFC7CFDCD4}"/>
          </ac:grpSpMkLst>
        </pc:grpChg>
        <pc:grpChg chg="mod">
          <ac:chgData name="Jacob, Karen (SPAC/PSPC) (elle-la / she-her)" userId="66e9cce0-e37b-4645-a907-f7690bd68dfb" providerId="ADAL" clId="{A3599A74-B049-44EE-8670-DE420CF3148A}" dt="2024-10-18T15:12:05.311" v="5544"/>
          <ac:grpSpMkLst>
            <pc:docMk/>
            <pc:sldMk cId="1022071146" sldId="5154"/>
            <ac:grpSpMk id="77" creationId="{CE4A8AA8-D80C-1133-5FA3-51E8E7EA7F99}"/>
          </ac:grpSpMkLst>
        </pc:grpChg>
        <pc:picChg chg="del mod">
          <ac:chgData name="Jacob, Karen (SPAC/PSPC) (elle-la / she-her)" userId="66e9cce0-e37b-4645-a907-f7690bd68dfb" providerId="ADAL" clId="{A3599A74-B049-44EE-8670-DE420CF3148A}" dt="2024-10-18T15:12:43.807" v="5604" actId="478"/>
          <ac:picMkLst>
            <pc:docMk/>
            <pc:sldMk cId="1022071146" sldId="5154"/>
            <ac:picMk id="14" creationId="{0742920C-1ADD-D143-65EA-FD3B919C0CA2}"/>
          </ac:picMkLst>
        </pc:picChg>
        <pc:picChg chg="del mod">
          <ac:chgData name="Jacob, Karen (SPAC/PSPC) (elle-la / she-her)" userId="66e9cce0-e37b-4645-a907-f7690bd68dfb" providerId="ADAL" clId="{A3599A74-B049-44EE-8670-DE420CF3148A}" dt="2024-10-18T15:12:55.550" v="5610" actId="478"/>
          <ac:picMkLst>
            <pc:docMk/>
            <pc:sldMk cId="1022071146" sldId="5154"/>
            <ac:picMk id="73" creationId="{06167044-0F7F-62D0-6F8C-04B73830943C}"/>
          </ac:picMkLst>
        </pc:picChg>
        <pc:cxnChg chg="del mod">
          <ac:chgData name="Jacob, Karen (SPAC/PSPC) (elle-la / she-her)" userId="66e9cce0-e37b-4645-a907-f7690bd68dfb" providerId="ADAL" clId="{A3599A74-B049-44EE-8670-DE420CF3148A}" dt="2024-10-18T15:12:23.428" v="5599" actId="478"/>
          <ac:cxnSpMkLst>
            <pc:docMk/>
            <pc:sldMk cId="1022071146" sldId="5154"/>
            <ac:cxnSpMk id="12" creationId="{9D01A66A-77F6-E090-2916-1610842D54C6}"/>
          </ac:cxnSpMkLst>
        </pc:cxn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6:01.823" v="20009"/>
              <pc2:cmMkLst xmlns:pc2="http://schemas.microsoft.com/office/powerpoint/2019/9/main/command">
                <pc:docMk/>
                <pc:sldMk cId="1022071146" sldId="5154"/>
                <pc2:cmMk id="{90626A41-4D1B-4755-A8E7-7F76F967625F}"/>
              </pc2:cmMkLst>
            </pc226:cmChg>
          </p:ext>
        </pc:extLst>
      </pc:sldChg>
      <pc:sldChg chg="del">
        <pc:chgData name="Jacob, Karen (SPAC/PSPC) (elle-la / she-her)" userId="66e9cce0-e37b-4645-a907-f7690bd68dfb" providerId="ADAL" clId="{A3599A74-B049-44EE-8670-DE420CF3148A}" dt="2024-10-17T13:43:39.697" v="27" actId="47"/>
        <pc:sldMkLst>
          <pc:docMk/>
          <pc:sldMk cId="1375870424" sldId="5155"/>
        </pc:sldMkLst>
      </pc:sldChg>
      <pc:sldChg chg="addSp delSp modSp mod addCm delCm modNotesTx">
        <pc:chgData name="Jacob, Karen (SPAC/PSPC) (elle-la / she-her)" userId="66e9cce0-e37b-4645-a907-f7690bd68dfb" providerId="ADAL" clId="{A3599A74-B049-44EE-8670-DE420CF3148A}" dt="2024-10-30T19:40:26.344" v="20478"/>
        <pc:sldMkLst>
          <pc:docMk/>
          <pc:sldMk cId="127833343" sldId="5156"/>
        </pc:sldMkLst>
        <pc:spChg chg="mod">
          <ac:chgData name="Jacob, Karen (SPAC/PSPC) (elle-la / she-her)" userId="66e9cce0-e37b-4645-a907-f7690bd68dfb" providerId="ADAL" clId="{A3599A74-B049-44EE-8670-DE420CF3148A}" dt="2024-10-18T17:56:24.551" v="7164" actId="207"/>
          <ac:spMkLst>
            <pc:docMk/>
            <pc:sldMk cId="127833343" sldId="5156"/>
            <ac:spMk id="2" creationId="{0DA1C67A-4FAB-556C-5C8D-241597F9DA1B}"/>
          </ac:spMkLst>
        </pc:spChg>
        <pc:spChg chg="mod">
          <ac:chgData name="Jacob, Karen (SPAC/PSPC) (elle-la / she-her)" userId="66e9cce0-e37b-4645-a907-f7690bd68dfb" providerId="ADAL" clId="{A3599A74-B049-44EE-8670-DE420CF3148A}" dt="2024-10-18T18:24:29.934" v="7888" actId="14100"/>
          <ac:spMkLst>
            <pc:docMk/>
            <pc:sldMk cId="127833343" sldId="5156"/>
            <ac:spMk id="4" creationId="{6E84A27E-2844-316E-6672-1236545BDBDC}"/>
          </ac:spMkLst>
        </pc:spChg>
        <pc:spChg chg="add del mod">
          <ac:chgData name="Jacob, Karen (SPAC/PSPC) (elle-la / she-her)" userId="66e9cce0-e37b-4645-a907-f7690bd68dfb" providerId="ADAL" clId="{A3599A74-B049-44EE-8670-DE420CF3148A}" dt="2024-10-18T15:58:48.386" v="6928" actId="478"/>
          <ac:spMkLst>
            <pc:docMk/>
            <pc:sldMk cId="127833343" sldId="5156"/>
            <ac:spMk id="7" creationId="{3741CF14-E7A0-FBDC-1A8D-B16BC1AF931F}"/>
          </ac:spMkLst>
        </pc:spChg>
        <pc:spChg chg="add del mod">
          <ac:chgData name="Jacob, Karen (SPAC/PSPC) (elle-la / she-her)" userId="66e9cce0-e37b-4645-a907-f7690bd68dfb" providerId="ADAL" clId="{A3599A74-B049-44EE-8670-DE420CF3148A}" dt="2024-10-18T17:40:09.631" v="6942" actId="478"/>
          <ac:spMkLst>
            <pc:docMk/>
            <pc:sldMk cId="127833343" sldId="5156"/>
            <ac:spMk id="8" creationId="{BF689CB3-B330-5F94-241A-760ABF6C779E}"/>
          </ac:spMkLst>
        </pc:spChg>
        <pc:spChg chg="add del mod">
          <ac:chgData name="Jacob, Karen (SPAC/PSPC) (elle-la / she-her)" userId="66e9cce0-e37b-4645-a907-f7690bd68dfb" providerId="ADAL" clId="{A3599A74-B049-44EE-8670-DE420CF3148A}" dt="2024-10-18T17:40:07.392" v="6941" actId="478"/>
          <ac:spMkLst>
            <pc:docMk/>
            <pc:sldMk cId="127833343" sldId="5156"/>
            <ac:spMk id="9" creationId="{BAFAA34A-4F43-F7E4-C450-256F6920894C}"/>
          </ac:spMkLst>
        </pc:spChg>
        <pc:spChg chg="add del mod">
          <ac:chgData name="Jacob, Karen (SPAC/PSPC) (elle-la / she-her)" userId="66e9cce0-e37b-4645-a907-f7690bd68dfb" providerId="ADAL" clId="{A3599A74-B049-44EE-8670-DE420CF3148A}" dt="2024-10-18T17:55:24.908" v="7143" actId="478"/>
          <ac:spMkLst>
            <pc:docMk/>
            <pc:sldMk cId="127833343" sldId="5156"/>
            <ac:spMk id="10" creationId="{BC975473-32CB-D6C8-6090-429EBA6F8A61}"/>
          </ac:spMkLst>
        </pc:spChg>
        <pc:spChg chg="add del mod">
          <ac:chgData name="Jacob, Karen (SPAC/PSPC) (elle-la / she-her)" userId="66e9cce0-e37b-4645-a907-f7690bd68dfb" providerId="ADAL" clId="{A3599A74-B049-44EE-8670-DE420CF3148A}" dt="2024-10-18T17:40:12.297" v="6944" actId="478"/>
          <ac:spMkLst>
            <pc:docMk/>
            <pc:sldMk cId="127833343" sldId="5156"/>
            <ac:spMk id="11" creationId="{805D18F7-B395-00E2-EA41-FCEC75D19D5F}"/>
          </ac:spMkLst>
        </pc:spChg>
        <pc:spChg chg="del mod">
          <ac:chgData name="Jacob, Karen (SPAC/PSPC) (elle-la / she-her)" userId="66e9cce0-e37b-4645-a907-f7690bd68dfb" providerId="ADAL" clId="{A3599A74-B049-44EE-8670-DE420CF3148A}" dt="2024-10-18T17:55:22.946" v="7142" actId="478"/>
          <ac:spMkLst>
            <pc:docMk/>
            <pc:sldMk cId="127833343" sldId="5156"/>
            <ac:spMk id="12" creationId="{49BC1508-1F65-AA39-033E-D60F15B261D2}"/>
          </ac:spMkLst>
        </pc:spChg>
        <pc:spChg chg="add del mod">
          <ac:chgData name="Jacob, Karen (SPAC/PSPC) (elle-la / she-her)" userId="66e9cce0-e37b-4645-a907-f7690bd68dfb" providerId="ADAL" clId="{A3599A74-B049-44EE-8670-DE420CF3148A}" dt="2024-10-18T17:40:14.908" v="6945" actId="478"/>
          <ac:spMkLst>
            <pc:docMk/>
            <pc:sldMk cId="127833343" sldId="5156"/>
            <ac:spMk id="13" creationId="{33202935-8F35-766C-F87E-5ACEFAA71156}"/>
          </ac:spMkLst>
        </pc:spChg>
        <pc:spChg chg="add del mod">
          <ac:chgData name="Jacob, Karen (SPAC/PSPC) (elle-la / she-her)" userId="66e9cce0-e37b-4645-a907-f7690bd68dfb" providerId="ADAL" clId="{A3599A74-B049-44EE-8670-DE420CF3148A}" dt="2024-10-18T17:39:52.036" v="6938" actId="478"/>
          <ac:spMkLst>
            <pc:docMk/>
            <pc:sldMk cId="127833343" sldId="5156"/>
            <ac:spMk id="14" creationId="{417FD432-0884-18D5-37C4-CC68BCD2CB35}"/>
          </ac:spMkLst>
        </pc:spChg>
        <pc:graphicFrameChg chg="add mod modGraphic">
          <ac:chgData name="Jacob, Karen (SPAC/PSPC) (elle-la / she-her)" userId="66e9cce0-e37b-4645-a907-f7690bd68dfb" providerId="ADAL" clId="{A3599A74-B049-44EE-8670-DE420CF3148A}" dt="2024-10-23T19:44:26.752" v="14460" actId="20577"/>
          <ac:graphicFrameMkLst>
            <pc:docMk/>
            <pc:sldMk cId="127833343" sldId="5156"/>
            <ac:graphicFrameMk id="17" creationId="{C41D58B7-6B00-125B-22E9-8018C129AE87}"/>
          </ac:graphicFrameMkLst>
        </pc:graphicFrameChg>
        <pc:picChg chg="add del mod">
          <ac:chgData name="Jacob, Karen (SPAC/PSPC) (elle-la / she-her)" userId="66e9cce0-e37b-4645-a907-f7690bd68dfb" providerId="ADAL" clId="{A3599A74-B049-44EE-8670-DE420CF3148A}" dt="2024-10-18T15:56:08.602" v="6841" actId="478"/>
          <ac:picMkLst>
            <pc:docMk/>
            <pc:sldMk cId="127833343" sldId="5156"/>
            <ac:picMk id="6" creationId="{2F1221D1-7927-82D2-29BE-DD5A19175FAD}"/>
          </ac:picMkLst>
        </pc:picChg>
        <pc:picChg chg="add del mod">
          <ac:chgData name="Jacob, Karen (SPAC/PSPC) (elle-la / she-her)" userId="66e9cce0-e37b-4645-a907-f7690bd68dfb" providerId="ADAL" clId="{A3599A74-B049-44EE-8670-DE420CF3148A}" dt="2024-10-18T17:52:42.804" v="7011" actId="478"/>
          <ac:picMkLst>
            <pc:docMk/>
            <pc:sldMk cId="127833343" sldId="5156"/>
            <ac:picMk id="19" creationId="{A019BD4C-C9A2-7532-CAED-31A84DAD60B8}"/>
          </ac:picMkLst>
        </pc:picChg>
        <pc:picChg chg="add del mod">
          <ac:chgData name="Jacob, Karen (SPAC/PSPC) (elle-la / she-her)" userId="66e9cce0-e37b-4645-a907-f7690bd68dfb" providerId="ADAL" clId="{A3599A74-B049-44EE-8670-DE420CF3148A}" dt="2024-10-18T17:52:45.455" v="7013" actId="478"/>
          <ac:picMkLst>
            <pc:docMk/>
            <pc:sldMk cId="127833343" sldId="5156"/>
            <ac:picMk id="21" creationId="{F03377BD-84F7-2D42-7A50-7A68B2C44AFA}"/>
          </ac:picMkLst>
        </pc:picChg>
        <pc:picChg chg="add del mod">
          <ac:chgData name="Jacob, Karen (SPAC/PSPC) (elle-la / she-her)" userId="66e9cce0-e37b-4645-a907-f7690bd68dfb" providerId="ADAL" clId="{A3599A74-B049-44EE-8670-DE420CF3148A}" dt="2024-10-18T17:52:44.659" v="7012" actId="478"/>
          <ac:picMkLst>
            <pc:docMk/>
            <pc:sldMk cId="127833343" sldId="5156"/>
            <ac:picMk id="23" creationId="{CC460BF3-C815-E13B-2F5E-9473AE9F2F61}"/>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9:50.559" v="20471"/>
              <pc2:cmMkLst xmlns:pc2="http://schemas.microsoft.com/office/powerpoint/2019/9/main/command">
                <pc:docMk/>
                <pc:sldMk cId="127833343" sldId="5156"/>
                <pc2:cmMk id="{F606A351-743E-4B21-AEA4-28542AF9593B}"/>
              </pc2:cmMkLst>
            </pc226:cmChg>
            <pc226:cmChg xmlns:pc226="http://schemas.microsoft.com/office/powerpoint/2022/06/main/command" chg="add del">
              <pc226:chgData name="Jacob, Karen (SPAC/PSPC) (elle-la / she-her)" userId="66e9cce0-e37b-4645-a907-f7690bd68dfb" providerId="ADAL" clId="{A3599A74-B049-44EE-8670-DE420CF3148A}" dt="2024-10-30T19:40:26.344" v="20478"/>
              <pc2:cmMkLst xmlns:pc2="http://schemas.microsoft.com/office/powerpoint/2019/9/main/command">
                <pc:docMk/>
                <pc:sldMk cId="127833343" sldId="5156"/>
                <pc2:cmMk id="{D92B9589-F440-4DF9-AD5F-E3365BD34DC1}"/>
              </pc2:cmMkLst>
            </pc226:cmChg>
            <pc226:cmChg xmlns:pc226="http://schemas.microsoft.com/office/powerpoint/2022/06/main/command" chg="del">
              <pc226:chgData name="Jacob, Karen (SPAC/PSPC) (elle-la / she-her)" userId="66e9cce0-e37b-4645-a907-f7690bd68dfb" providerId="ADAL" clId="{A3599A74-B049-44EE-8670-DE420CF3148A}" dt="2024-10-30T19:39:54.113" v="20473"/>
              <pc2:cmMkLst xmlns:pc2="http://schemas.microsoft.com/office/powerpoint/2019/9/main/command">
                <pc:docMk/>
                <pc:sldMk cId="127833343" sldId="5156"/>
                <pc2:cmMk id="{D3231298-DF8E-44CE-8420-26FC556B1B52}"/>
              </pc2:cmMkLst>
            </pc226:cmChg>
            <pc226:cmChg xmlns:pc226="http://schemas.microsoft.com/office/powerpoint/2022/06/main/command" chg="del">
              <pc226:chgData name="Jacob, Karen (SPAC/PSPC) (elle-la / she-her)" userId="66e9cce0-e37b-4645-a907-f7690bd68dfb" providerId="ADAL" clId="{A3599A74-B049-44EE-8670-DE420CF3148A}" dt="2024-10-30T19:39:52.403" v="20472"/>
              <pc2:cmMkLst xmlns:pc2="http://schemas.microsoft.com/office/powerpoint/2019/9/main/command">
                <pc:docMk/>
                <pc:sldMk cId="127833343" sldId="5156"/>
                <pc2:cmMk id="{136D97A2-F13C-4833-83D9-7FAD2EF41064}"/>
              </pc2:cmMkLst>
            </pc226:cmChg>
            <pc226:cmChg xmlns:pc226="http://schemas.microsoft.com/office/powerpoint/2022/06/main/command" chg="del">
              <pc226:chgData name="Jacob, Karen (SPAC/PSPC) (elle-la / she-her)" userId="66e9cce0-e37b-4645-a907-f7690bd68dfb" providerId="ADAL" clId="{A3599A74-B049-44EE-8670-DE420CF3148A}" dt="2024-10-30T19:39:48.656" v="20470"/>
              <pc2:cmMkLst xmlns:pc2="http://schemas.microsoft.com/office/powerpoint/2019/9/main/command">
                <pc:docMk/>
                <pc:sldMk cId="127833343" sldId="5156"/>
                <pc2:cmMk id="{B86F3CA6-6762-47C6-935C-E7B2EE3CEF4A}"/>
              </pc2:cmMkLst>
            </pc226:cmChg>
          </p:ext>
        </pc:extLst>
      </pc:sldChg>
      <pc:sldChg chg="addSp modSp mod delCm modCm modNotesTx">
        <pc:chgData name="Jacob, Karen (SPAC/PSPC) (elle-la / she-her)" userId="66e9cce0-e37b-4645-a907-f7690bd68dfb" providerId="ADAL" clId="{A3599A74-B049-44EE-8670-DE420CF3148A}" dt="2024-10-30T19:35:14.696" v="19956"/>
        <pc:sldMkLst>
          <pc:docMk/>
          <pc:sldMk cId="1906248257" sldId="5157"/>
        </pc:sldMkLst>
        <pc:spChg chg="mod">
          <ac:chgData name="Jacob, Karen (SPAC/PSPC) (elle-la / she-her)" userId="66e9cce0-e37b-4645-a907-f7690bd68dfb" providerId="ADAL" clId="{A3599A74-B049-44EE-8670-DE420CF3148A}" dt="2024-10-17T15:42:48.816" v="4194" actId="20577"/>
          <ac:spMkLst>
            <pc:docMk/>
            <pc:sldMk cId="1906248257" sldId="5157"/>
            <ac:spMk id="2" creationId="{E2A90173-C9BE-15AB-2F1B-343129698A10}"/>
          </ac:spMkLst>
        </pc:spChg>
        <pc:spChg chg="mod">
          <ac:chgData name="Jacob, Karen (SPAC/PSPC) (elle-la / she-her)" userId="66e9cce0-e37b-4645-a907-f7690bd68dfb" providerId="ADAL" clId="{A3599A74-B049-44EE-8670-DE420CF3148A}" dt="2024-10-23T20:20:58.255" v="18352" actId="403"/>
          <ac:spMkLst>
            <pc:docMk/>
            <pc:sldMk cId="1906248257" sldId="5157"/>
            <ac:spMk id="3" creationId="{7A78167E-F052-C9E8-04C8-15DFB9851FEC}"/>
          </ac:spMkLst>
        </pc:spChg>
        <pc:spChg chg="add mod">
          <ac:chgData name="Jacob, Karen (SPAC/PSPC) (elle-la / she-her)" userId="66e9cce0-e37b-4645-a907-f7690bd68dfb" providerId="ADAL" clId="{A3599A74-B049-44EE-8670-DE420CF3148A}" dt="2024-10-18T15:27:33.941" v="6697" actId="1036"/>
          <ac:spMkLst>
            <pc:docMk/>
            <pc:sldMk cId="1906248257" sldId="5157"/>
            <ac:spMk id="7" creationId="{CC2D8B5B-DD81-8C68-A503-6C536867FD7F}"/>
          </ac:spMkLst>
        </pc:spChg>
        <pc:spChg chg="add mod">
          <ac:chgData name="Jacob, Karen (SPAC/PSPC) (elle-la / she-her)" userId="66e9cce0-e37b-4645-a907-f7690bd68dfb" providerId="ADAL" clId="{A3599A74-B049-44EE-8670-DE420CF3148A}" dt="2024-10-18T15:27:33.941" v="6697" actId="1036"/>
          <ac:spMkLst>
            <pc:docMk/>
            <pc:sldMk cId="1906248257" sldId="5157"/>
            <ac:spMk id="12" creationId="{79E5A377-DAE4-753B-F5E9-24A86950F8FE}"/>
          </ac:spMkLst>
        </pc:spChg>
        <pc:spChg chg="add mod">
          <ac:chgData name="Jacob, Karen (SPAC/PSPC) (elle-la / she-her)" userId="66e9cce0-e37b-4645-a907-f7690bd68dfb" providerId="ADAL" clId="{A3599A74-B049-44EE-8670-DE420CF3148A}" dt="2024-10-23T19:39:09.182" v="14405" actId="1076"/>
          <ac:spMkLst>
            <pc:docMk/>
            <pc:sldMk cId="1906248257" sldId="5157"/>
            <ac:spMk id="13" creationId="{D0C12D73-8CDE-B900-CBD1-6FC806D83D2C}"/>
          </ac:spMkLst>
        </pc:spChg>
        <pc:picChg chg="add mod">
          <ac:chgData name="Jacob, Karen (SPAC/PSPC) (elle-la / she-her)" userId="66e9cce0-e37b-4645-a907-f7690bd68dfb" providerId="ADAL" clId="{A3599A74-B049-44EE-8670-DE420CF3148A}" dt="2024-10-18T15:27:33.941" v="6697" actId="1036"/>
          <ac:picMkLst>
            <pc:docMk/>
            <pc:sldMk cId="1906248257" sldId="5157"/>
            <ac:picMk id="6" creationId="{185AE60D-63D0-0E73-0759-4A42E0272CBF}"/>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A3599A74-B049-44EE-8670-DE420CF3148A}" dt="2024-10-30T19:35:14.696" v="19956"/>
              <pc2:cmMkLst xmlns:pc2="http://schemas.microsoft.com/office/powerpoint/2019/9/main/command">
                <pc:docMk/>
                <pc:sldMk cId="1906248257" sldId="5157"/>
                <pc2:cmMk id="{851C8408-012E-44F2-B092-64E5602B8679}"/>
              </pc2:cmMkLst>
              <pc226:cmRplyChg chg="add">
                <pc226:chgData name="Jacob, Karen (SPAC/PSPC) (elle-la / she-her)" userId="66e9cce0-e37b-4645-a907-f7690bd68dfb" providerId="ADAL" clId="{A3599A74-B049-44EE-8670-DE420CF3148A}" dt="2024-10-23T18:11:00.380" v="8058"/>
                <pc2:cmRplyMkLst xmlns:pc2="http://schemas.microsoft.com/office/powerpoint/2019/9/main/command">
                  <pc:docMk/>
                  <pc:sldMk cId="1906248257" sldId="5157"/>
                  <pc2:cmMk id="{851C8408-012E-44F2-B092-64E5602B8679}"/>
                  <pc2:cmRplyMk id="{9D9C5B24-862F-4BA0-8478-03195ECF4136}"/>
                </pc2:cmRplyMkLst>
              </pc226:cmRplyChg>
            </pc226:cmChg>
          </p:ext>
        </pc:extLst>
      </pc:sldChg>
      <pc:sldChg chg="del ord">
        <pc:chgData name="Jacob, Karen (SPAC/PSPC) (elle-la / she-her)" userId="66e9cce0-e37b-4645-a907-f7690bd68dfb" providerId="ADAL" clId="{A3599A74-B049-44EE-8670-DE420CF3148A}" dt="2024-10-17T13:43:43.230" v="28" actId="47"/>
        <pc:sldMkLst>
          <pc:docMk/>
          <pc:sldMk cId="4277358021" sldId="5158"/>
        </pc:sldMkLst>
      </pc:sldChg>
      <pc:sldChg chg="del">
        <pc:chgData name="Jacob, Karen (SPAC/PSPC) (elle-la / she-her)" userId="66e9cce0-e37b-4645-a907-f7690bd68dfb" providerId="ADAL" clId="{A3599A74-B049-44EE-8670-DE420CF3148A}" dt="2024-10-17T13:43:36.209" v="26" actId="47"/>
        <pc:sldMkLst>
          <pc:docMk/>
          <pc:sldMk cId="4184038647" sldId="5159"/>
        </pc:sldMkLst>
      </pc:sldChg>
      <pc:sldChg chg="modSp add del mod">
        <pc:chgData name="Jacob, Karen (SPAC/PSPC) (elle-la / she-her)" userId="66e9cce0-e37b-4645-a907-f7690bd68dfb" providerId="ADAL" clId="{A3599A74-B049-44EE-8670-DE420CF3148A}" dt="2024-10-17T14:15:18.164" v="789" actId="47"/>
        <pc:sldMkLst>
          <pc:docMk/>
          <pc:sldMk cId="2356431639" sldId="5160"/>
        </pc:sldMkLst>
        <pc:spChg chg="mod">
          <ac:chgData name="Jacob, Karen (SPAC/PSPC) (elle-la / she-her)" userId="66e9cce0-e37b-4645-a907-f7690bd68dfb" providerId="ADAL" clId="{A3599A74-B049-44EE-8670-DE420CF3148A}" dt="2024-10-17T13:43:26.445" v="25" actId="20577"/>
          <ac:spMkLst>
            <pc:docMk/>
            <pc:sldMk cId="2356431639" sldId="5160"/>
            <ac:spMk id="5" creationId="{D0DACE9A-1229-9EEE-A180-51B071D4E977}"/>
          </ac:spMkLst>
        </pc:spChg>
      </pc:sldChg>
      <pc:sldChg chg="modSp add mod ord delCm modCm">
        <pc:chgData name="Jacob, Karen (SPAC/PSPC) (elle-la / she-her)" userId="66e9cce0-e37b-4645-a907-f7690bd68dfb" providerId="ADAL" clId="{A3599A74-B049-44EE-8670-DE420CF3148A}" dt="2024-10-30T19:30:53.777" v="19754"/>
        <pc:sldMkLst>
          <pc:docMk/>
          <pc:sldMk cId="1455389328" sldId="5161"/>
        </pc:sldMkLst>
        <pc:spChg chg="mod">
          <ac:chgData name="Jacob, Karen (SPAC/PSPC) (elle-la / she-her)" userId="66e9cce0-e37b-4645-a907-f7690bd68dfb" providerId="ADAL" clId="{A3599A74-B049-44EE-8670-DE420CF3148A}" dt="2024-10-23T19:05:27.993" v="9965" actId="20577"/>
          <ac:spMkLst>
            <pc:docMk/>
            <pc:sldMk cId="1455389328" sldId="5161"/>
            <ac:spMk id="2" creationId="{E2A90173-C9BE-15AB-2F1B-343129698A10}"/>
          </ac:spMkLst>
        </pc:spChg>
        <pc:spChg chg="mod">
          <ac:chgData name="Jacob, Karen (SPAC/PSPC) (elle-la / she-her)" userId="66e9cce0-e37b-4645-a907-f7690bd68dfb" providerId="ADAL" clId="{A3599A74-B049-44EE-8670-DE420CF3148A}" dt="2024-10-30T19:30:47.683" v="19752" actId="6549"/>
          <ac:spMkLst>
            <pc:docMk/>
            <pc:sldMk cId="1455389328" sldId="5161"/>
            <ac:spMk id="3" creationId="{7A78167E-F052-C9E8-04C8-15DFB9851FEC}"/>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30:53.777" v="19754"/>
              <pc2:cmMkLst xmlns:pc2="http://schemas.microsoft.com/office/powerpoint/2019/9/main/command">
                <pc:docMk/>
                <pc:sldMk cId="1455389328" sldId="5161"/>
                <pc2:cmMk id="{C7F2A920-AA00-4BFC-B913-A16A62B0C314}"/>
              </pc2:cmMkLst>
            </pc226:cmChg>
          </p:ext>
        </pc:extLst>
      </pc:sldChg>
      <pc:sldChg chg="modSp add mod">
        <pc:chgData name="Jacob, Karen (SPAC/PSPC) (elle-la / she-her)" userId="66e9cce0-e37b-4645-a907-f7690bd68dfb" providerId="ADAL" clId="{A3599A74-B049-44EE-8670-DE420CF3148A}" dt="2024-10-23T19:19:00.026" v="11574" actId="20577"/>
        <pc:sldMkLst>
          <pc:docMk/>
          <pc:sldMk cId="630006528" sldId="5162"/>
        </pc:sldMkLst>
        <pc:spChg chg="mod">
          <ac:chgData name="Jacob, Karen (SPAC/PSPC) (elle-la / she-her)" userId="66e9cce0-e37b-4645-a907-f7690bd68dfb" providerId="ADAL" clId="{A3599A74-B049-44EE-8670-DE420CF3148A}" dt="2024-10-18T14:28:58.106" v="5062" actId="20577"/>
          <ac:spMkLst>
            <pc:docMk/>
            <pc:sldMk cId="630006528" sldId="5162"/>
            <ac:spMk id="2" creationId="{E2A90173-C9BE-15AB-2F1B-343129698A10}"/>
          </ac:spMkLst>
        </pc:spChg>
        <pc:spChg chg="mod">
          <ac:chgData name="Jacob, Karen (SPAC/PSPC) (elle-la / she-her)" userId="66e9cce0-e37b-4645-a907-f7690bd68dfb" providerId="ADAL" clId="{A3599A74-B049-44EE-8670-DE420CF3148A}" dt="2024-10-23T19:19:00.026" v="11574" actId="20577"/>
          <ac:spMkLst>
            <pc:docMk/>
            <pc:sldMk cId="630006528" sldId="5162"/>
            <ac:spMk id="3" creationId="{7A78167E-F052-C9E8-04C8-15DFB9851FEC}"/>
          </ac:spMkLst>
        </pc:spChg>
      </pc:sldChg>
      <pc:sldChg chg="addSp delSp modSp add mod">
        <pc:chgData name="Jacob, Karen (SPAC/PSPC) (elle-la / she-her)" userId="66e9cce0-e37b-4645-a907-f7690bd68dfb" providerId="ADAL" clId="{A3599A74-B049-44EE-8670-DE420CF3148A}" dt="2024-10-18T18:17:39.735" v="7823" actId="20577"/>
        <pc:sldMkLst>
          <pc:docMk/>
          <pc:sldMk cId="416905842" sldId="5163"/>
        </pc:sldMkLst>
        <pc:spChg chg="mod">
          <ac:chgData name="Jacob, Karen (SPAC/PSPC) (elle-la / she-her)" userId="66e9cce0-e37b-4645-a907-f7690bd68dfb" providerId="ADAL" clId="{A3599A74-B049-44EE-8670-DE420CF3148A}" dt="2024-10-18T12:47:18.775" v="4348" actId="20577"/>
          <ac:spMkLst>
            <pc:docMk/>
            <pc:sldMk cId="416905842" sldId="5163"/>
            <ac:spMk id="4" creationId="{6E84A27E-2844-316E-6672-1236545BDBDC}"/>
          </ac:spMkLst>
        </pc:spChg>
        <pc:spChg chg="add mod">
          <ac:chgData name="Jacob, Karen (SPAC/PSPC) (elle-la / she-her)" userId="66e9cce0-e37b-4645-a907-f7690bd68dfb" providerId="ADAL" clId="{A3599A74-B049-44EE-8670-DE420CF3148A}" dt="2024-10-18T12:51:32.810" v="4556" actId="1076"/>
          <ac:spMkLst>
            <pc:docMk/>
            <pc:sldMk cId="416905842" sldId="5163"/>
            <ac:spMk id="5" creationId="{A4374EFD-96BA-20EC-CC27-A13CEB0C6400}"/>
          </ac:spMkLst>
        </pc:spChg>
        <pc:spChg chg="add mod">
          <ac:chgData name="Jacob, Karen (SPAC/PSPC) (elle-la / she-her)" userId="66e9cce0-e37b-4645-a907-f7690bd68dfb" providerId="ADAL" clId="{A3599A74-B049-44EE-8670-DE420CF3148A}" dt="2024-10-18T12:47:56.087" v="4454" actId="14100"/>
          <ac:spMkLst>
            <pc:docMk/>
            <pc:sldMk cId="416905842" sldId="5163"/>
            <ac:spMk id="6" creationId="{1EEE46AB-E199-BFF5-8717-7CE4227F668E}"/>
          </ac:spMkLst>
        </pc:spChg>
        <pc:spChg chg="add mod">
          <ac:chgData name="Jacob, Karen (SPAC/PSPC) (elle-la / she-her)" userId="66e9cce0-e37b-4645-a907-f7690bd68dfb" providerId="ADAL" clId="{A3599A74-B049-44EE-8670-DE420CF3148A}" dt="2024-10-18T12:53:31.952" v="4620" actId="1076"/>
          <ac:spMkLst>
            <pc:docMk/>
            <pc:sldMk cId="416905842" sldId="5163"/>
            <ac:spMk id="7" creationId="{F6FC4EB5-6A97-F3B8-AEBA-5B4EDA1C15B9}"/>
          </ac:spMkLst>
        </pc:spChg>
        <pc:spChg chg="add del mod">
          <ac:chgData name="Jacob, Karen (SPAC/PSPC) (elle-la / she-her)" userId="66e9cce0-e37b-4645-a907-f7690bd68dfb" providerId="ADAL" clId="{A3599A74-B049-44EE-8670-DE420CF3148A}" dt="2024-10-18T12:51:01.490" v="4552"/>
          <ac:spMkLst>
            <pc:docMk/>
            <pc:sldMk cId="416905842" sldId="5163"/>
            <ac:spMk id="8" creationId="{8C399338-D56A-956B-8F0E-94D3F1909232}"/>
          </ac:spMkLst>
        </pc:spChg>
        <pc:spChg chg="add mod">
          <ac:chgData name="Jacob, Karen (SPAC/PSPC) (elle-la / she-her)" userId="66e9cce0-e37b-4645-a907-f7690bd68dfb" providerId="ADAL" clId="{A3599A74-B049-44EE-8670-DE420CF3148A}" dt="2024-10-18T12:51:50.273" v="4562" actId="1076"/>
          <ac:spMkLst>
            <pc:docMk/>
            <pc:sldMk cId="416905842" sldId="5163"/>
            <ac:spMk id="9" creationId="{92F5A39C-7194-FD3B-3DAF-BF8DE677C204}"/>
          </ac:spMkLst>
        </pc:spChg>
        <pc:spChg chg="add mod">
          <ac:chgData name="Jacob, Karen (SPAC/PSPC) (elle-la / she-her)" userId="66e9cce0-e37b-4645-a907-f7690bd68dfb" providerId="ADAL" clId="{A3599A74-B049-44EE-8670-DE420CF3148A}" dt="2024-10-18T18:17:31.867" v="7805" actId="20577"/>
          <ac:spMkLst>
            <pc:docMk/>
            <pc:sldMk cId="416905842" sldId="5163"/>
            <ac:spMk id="10" creationId="{64B9E736-275C-70FF-647F-AD66A2CAF66F}"/>
          </ac:spMkLst>
        </pc:spChg>
        <pc:spChg chg="add mod">
          <ac:chgData name="Jacob, Karen (SPAC/PSPC) (elle-la / she-her)" userId="66e9cce0-e37b-4645-a907-f7690bd68dfb" providerId="ADAL" clId="{A3599A74-B049-44EE-8670-DE420CF3148A}" dt="2024-10-18T12:53:22.978" v="4618" actId="1076"/>
          <ac:spMkLst>
            <pc:docMk/>
            <pc:sldMk cId="416905842" sldId="5163"/>
            <ac:spMk id="11" creationId="{801E6EFE-3786-B503-900D-AB1C052C5DC7}"/>
          </ac:spMkLst>
        </pc:spChg>
        <pc:spChg chg="del">
          <ac:chgData name="Jacob, Karen (SPAC/PSPC) (elle-la / she-her)" userId="66e9cce0-e37b-4645-a907-f7690bd68dfb" providerId="ADAL" clId="{A3599A74-B049-44EE-8670-DE420CF3148A}" dt="2024-10-17T14:20:32.651" v="966" actId="478"/>
          <ac:spMkLst>
            <pc:docMk/>
            <pc:sldMk cId="416905842" sldId="5163"/>
            <ac:spMk id="12" creationId="{49BC1508-1F65-AA39-033E-D60F15B261D2}"/>
          </ac:spMkLst>
        </pc:spChg>
        <pc:spChg chg="add mod">
          <ac:chgData name="Jacob, Karen (SPAC/PSPC) (elle-la / she-her)" userId="66e9cce0-e37b-4645-a907-f7690bd68dfb" providerId="ADAL" clId="{A3599A74-B049-44EE-8670-DE420CF3148A}" dt="2024-10-18T18:17:36.074" v="7814" actId="20577"/>
          <ac:spMkLst>
            <pc:docMk/>
            <pc:sldMk cId="416905842" sldId="5163"/>
            <ac:spMk id="12" creationId="{5A496BE1-88E1-E380-0EE2-6F47622AF956}"/>
          </ac:spMkLst>
        </pc:spChg>
        <pc:spChg chg="add mod">
          <ac:chgData name="Jacob, Karen (SPAC/PSPC) (elle-la / she-her)" userId="66e9cce0-e37b-4645-a907-f7690bd68dfb" providerId="ADAL" clId="{A3599A74-B049-44EE-8670-DE420CF3148A}" dt="2024-10-18T18:17:39.735" v="7823" actId="20577"/>
          <ac:spMkLst>
            <pc:docMk/>
            <pc:sldMk cId="416905842" sldId="5163"/>
            <ac:spMk id="13" creationId="{918BF31B-5C95-6A42-7144-947D2223A772}"/>
          </ac:spMkLst>
        </pc:spChg>
        <pc:spChg chg="add mod">
          <ac:chgData name="Jacob, Karen (SPAC/PSPC) (elle-la / she-her)" userId="66e9cce0-e37b-4645-a907-f7690bd68dfb" providerId="ADAL" clId="{A3599A74-B049-44EE-8670-DE420CF3148A}" dt="2024-10-18T12:53:07.874" v="4615" actId="1076"/>
          <ac:spMkLst>
            <pc:docMk/>
            <pc:sldMk cId="416905842" sldId="5163"/>
            <ac:spMk id="14" creationId="{CCB72D98-435F-5CEC-6FB4-919D7DBD56AE}"/>
          </ac:spMkLst>
        </pc:spChg>
        <pc:spChg chg="add mod">
          <ac:chgData name="Jacob, Karen (SPAC/PSPC) (elle-la / she-her)" userId="66e9cce0-e37b-4645-a907-f7690bd68dfb" providerId="ADAL" clId="{A3599A74-B049-44EE-8670-DE420CF3148A}" dt="2024-10-18T12:53:11.610" v="4616" actId="1076"/>
          <ac:spMkLst>
            <pc:docMk/>
            <pc:sldMk cId="416905842" sldId="5163"/>
            <ac:spMk id="15" creationId="{88223E01-4461-3929-D0F3-0D9E480586ED}"/>
          </ac:spMkLst>
        </pc:spChg>
        <pc:spChg chg="add mod">
          <ac:chgData name="Jacob, Karen (SPAC/PSPC) (elle-la / she-her)" userId="66e9cce0-e37b-4645-a907-f7690bd68dfb" providerId="ADAL" clId="{A3599A74-B049-44EE-8670-DE420CF3148A}" dt="2024-10-18T12:51:00.012" v="4550" actId="122"/>
          <ac:spMkLst>
            <pc:docMk/>
            <pc:sldMk cId="416905842" sldId="5163"/>
            <ac:spMk id="16" creationId="{2C35CEA1-D994-28EA-4A4F-631EDF5BE865}"/>
          </ac:spMkLst>
        </pc:spChg>
        <pc:spChg chg="add mod">
          <ac:chgData name="Jacob, Karen (SPAC/PSPC) (elle-la / she-her)" userId="66e9cce0-e37b-4645-a907-f7690bd68dfb" providerId="ADAL" clId="{A3599A74-B049-44EE-8670-DE420CF3148A}" dt="2024-10-17T14:21:00.331" v="1000" actId="1035"/>
          <ac:spMkLst>
            <pc:docMk/>
            <pc:sldMk cId="416905842" sldId="5163"/>
            <ac:spMk id="17" creationId="{66FF4875-49A7-FD78-EF0A-747DFB4CD1C8}"/>
          </ac:spMkLst>
        </pc:spChg>
        <pc:spChg chg="add mod">
          <ac:chgData name="Jacob, Karen (SPAC/PSPC) (elle-la / she-her)" userId="66e9cce0-e37b-4645-a907-f7690bd68dfb" providerId="ADAL" clId="{A3599A74-B049-44EE-8670-DE420CF3148A}" dt="2024-10-17T14:21:00.331" v="1000" actId="1035"/>
          <ac:spMkLst>
            <pc:docMk/>
            <pc:sldMk cId="416905842" sldId="5163"/>
            <ac:spMk id="18" creationId="{DBB57DC8-4628-1B79-318B-666FC4670D91}"/>
          </ac:spMkLst>
        </pc:spChg>
        <pc:spChg chg="add mod">
          <ac:chgData name="Jacob, Karen (SPAC/PSPC) (elle-la / she-her)" userId="66e9cce0-e37b-4645-a907-f7690bd68dfb" providerId="ADAL" clId="{A3599A74-B049-44EE-8670-DE420CF3148A}" dt="2024-10-17T14:21:00.331" v="1000" actId="1035"/>
          <ac:spMkLst>
            <pc:docMk/>
            <pc:sldMk cId="416905842" sldId="5163"/>
            <ac:spMk id="19" creationId="{AF495A8B-A250-7A4D-21E3-921C682454ED}"/>
          </ac:spMkLst>
        </pc:spChg>
        <pc:spChg chg="add mod">
          <ac:chgData name="Jacob, Karen (SPAC/PSPC) (elle-la / she-her)" userId="66e9cce0-e37b-4645-a907-f7690bd68dfb" providerId="ADAL" clId="{A3599A74-B049-44EE-8670-DE420CF3148A}" dt="2024-10-17T14:21:00.331" v="1000" actId="1035"/>
          <ac:spMkLst>
            <pc:docMk/>
            <pc:sldMk cId="416905842" sldId="5163"/>
            <ac:spMk id="20" creationId="{CFA085D6-0099-ED89-398A-18F25D593F88}"/>
          </ac:spMkLst>
        </pc:spChg>
        <pc:spChg chg="add mod">
          <ac:chgData name="Jacob, Karen (SPAC/PSPC) (elle-la / she-her)" userId="66e9cce0-e37b-4645-a907-f7690bd68dfb" providerId="ADAL" clId="{A3599A74-B049-44EE-8670-DE420CF3148A}" dt="2024-10-17T14:21:00.331" v="1000" actId="1035"/>
          <ac:spMkLst>
            <pc:docMk/>
            <pc:sldMk cId="416905842" sldId="5163"/>
            <ac:spMk id="22" creationId="{C612F677-64CF-8D3A-4DB1-4DE1B2AF9EA1}"/>
          </ac:spMkLst>
        </pc:spChg>
        <pc:spChg chg="add mod">
          <ac:chgData name="Jacob, Karen (SPAC/PSPC) (elle-la / she-her)" userId="66e9cce0-e37b-4645-a907-f7690bd68dfb" providerId="ADAL" clId="{A3599A74-B049-44EE-8670-DE420CF3148A}" dt="2024-10-17T14:21:00.331" v="1000" actId="1035"/>
          <ac:spMkLst>
            <pc:docMk/>
            <pc:sldMk cId="416905842" sldId="5163"/>
            <ac:spMk id="24" creationId="{46475CA0-5389-EEDC-9749-512BE3642A63}"/>
          </ac:spMkLst>
        </pc:spChg>
        <pc:spChg chg="add mod">
          <ac:chgData name="Jacob, Karen (SPAC/PSPC) (elle-la / she-her)" userId="66e9cce0-e37b-4645-a907-f7690bd68dfb" providerId="ADAL" clId="{A3599A74-B049-44EE-8670-DE420CF3148A}" dt="2024-10-17T14:21:00.331" v="1000" actId="1035"/>
          <ac:spMkLst>
            <pc:docMk/>
            <pc:sldMk cId="416905842" sldId="5163"/>
            <ac:spMk id="25" creationId="{9D314767-FE2C-346B-8209-21ED556BD3C8}"/>
          </ac:spMkLst>
        </pc:spChg>
        <pc:spChg chg="add mod">
          <ac:chgData name="Jacob, Karen (SPAC/PSPC) (elle-la / she-her)" userId="66e9cce0-e37b-4645-a907-f7690bd68dfb" providerId="ADAL" clId="{A3599A74-B049-44EE-8670-DE420CF3148A}" dt="2024-10-17T14:21:00.331" v="1000" actId="1035"/>
          <ac:spMkLst>
            <pc:docMk/>
            <pc:sldMk cId="416905842" sldId="5163"/>
            <ac:spMk id="26" creationId="{324E2945-CFA9-E091-39A7-0B3A162EC931}"/>
          </ac:spMkLst>
        </pc:spChg>
        <pc:spChg chg="add mod">
          <ac:chgData name="Jacob, Karen (SPAC/PSPC) (elle-la / she-her)" userId="66e9cce0-e37b-4645-a907-f7690bd68dfb" providerId="ADAL" clId="{A3599A74-B049-44EE-8670-DE420CF3148A}" dt="2024-10-17T14:21:00.331" v="1000" actId="1035"/>
          <ac:spMkLst>
            <pc:docMk/>
            <pc:sldMk cId="416905842" sldId="5163"/>
            <ac:spMk id="27" creationId="{11ECA5C9-9824-DF69-5A99-FCF83FBBF07E}"/>
          </ac:spMkLst>
        </pc:spChg>
        <pc:spChg chg="add mod">
          <ac:chgData name="Jacob, Karen (SPAC/PSPC) (elle-la / she-her)" userId="66e9cce0-e37b-4645-a907-f7690bd68dfb" providerId="ADAL" clId="{A3599A74-B049-44EE-8670-DE420CF3148A}" dt="2024-10-17T14:21:00.331" v="1000" actId="1035"/>
          <ac:spMkLst>
            <pc:docMk/>
            <pc:sldMk cId="416905842" sldId="5163"/>
            <ac:spMk id="28" creationId="{0A62947A-5147-AF36-8215-7461ED6217C6}"/>
          </ac:spMkLst>
        </pc:spChg>
        <pc:spChg chg="add mod">
          <ac:chgData name="Jacob, Karen (SPAC/PSPC) (elle-la / she-her)" userId="66e9cce0-e37b-4645-a907-f7690bd68dfb" providerId="ADAL" clId="{A3599A74-B049-44EE-8670-DE420CF3148A}" dt="2024-10-17T14:21:00.331" v="1000" actId="1035"/>
          <ac:spMkLst>
            <pc:docMk/>
            <pc:sldMk cId="416905842" sldId="5163"/>
            <ac:spMk id="30" creationId="{2ACFEF68-1F4C-FC65-92A8-C60D7FC9DA1B}"/>
          </ac:spMkLst>
        </pc:spChg>
        <pc:spChg chg="add mod">
          <ac:chgData name="Jacob, Karen (SPAC/PSPC) (elle-la / she-her)" userId="66e9cce0-e37b-4645-a907-f7690bd68dfb" providerId="ADAL" clId="{A3599A74-B049-44EE-8670-DE420CF3148A}" dt="2024-10-17T14:21:00.331" v="1000" actId="1035"/>
          <ac:spMkLst>
            <pc:docMk/>
            <pc:sldMk cId="416905842" sldId="5163"/>
            <ac:spMk id="31" creationId="{F1FC45FA-1DF2-7C17-C659-9ED369795783}"/>
          </ac:spMkLst>
        </pc:spChg>
        <pc:spChg chg="add mod">
          <ac:chgData name="Jacob, Karen (SPAC/PSPC) (elle-la / she-her)" userId="66e9cce0-e37b-4645-a907-f7690bd68dfb" providerId="ADAL" clId="{A3599A74-B049-44EE-8670-DE420CF3148A}" dt="2024-10-17T14:21:00.331" v="1000" actId="1035"/>
          <ac:spMkLst>
            <pc:docMk/>
            <pc:sldMk cId="416905842" sldId="5163"/>
            <ac:spMk id="33" creationId="{B52E6772-4247-DF96-8615-5FF05951886D}"/>
          </ac:spMkLst>
        </pc:spChg>
        <pc:spChg chg="add mod">
          <ac:chgData name="Jacob, Karen (SPAC/PSPC) (elle-la / she-her)" userId="66e9cce0-e37b-4645-a907-f7690bd68dfb" providerId="ADAL" clId="{A3599A74-B049-44EE-8670-DE420CF3148A}" dt="2024-10-17T14:21:00.331" v="1000" actId="1035"/>
          <ac:spMkLst>
            <pc:docMk/>
            <pc:sldMk cId="416905842" sldId="5163"/>
            <ac:spMk id="34" creationId="{F7AE0944-3100-D1BD-EAD8-DD82CA214995}"/>
          </ac:spMkLst>
        </pc:spChg>
        <pc:spChg chg="add mod">
          <ac:chgData name="Jacob, Karen (SPAC/PSPC) (elle-la / she-her)" userId="66e9cce0-e37b-4645-a907-f7690bd68dfb" providerId="ADAL" clId="{A3599A74-B049-44EE-8670-DE420CF3148A}" dt="2024-10-17T14:21:00.331" v="1000" actId="1035"/>
          <ac:spMkLst>
            <pc:docMk/>
            <pc:sldMk cId="416905842" sldId="5163"/>
            <ac:spMk id="35" creationId="{A45381C8-31CD-44E3-FCCB-74232805A5CB}"/>
          </ac:spMkLst>
        </pc:spChg>
        <pc:spChg chg="add mod">
          <ac:chgData name="Jacob, Karen (SPAC/PSPC) (elle-la / she-her)" userId="66e9cce0-e37b-4645-a907-f7690bd68dfb" providerId="ADAL" clId="{A3599A74-B049-44EE-8670-DE420CF3148A}" dt="2024-10-17T14:21:00.331" v="1000" actId="1035"/>
          <ac:spMkLst>
            <pc:docMk/>
            <pc:sldMk cId="416905842" sldId="5163"/>
            <ac:spMk id="36" creationId="{9FA4E66A-B415-8D50-2224-E9B708C19B9F}"/>
          </ac:spMkLst>
        </pc:spChg>
        <pc:spChg chg="add mod">
          <ac:chgData name="Jacob, Karen (SPAC/PSPC) (elle-la / she-her)" userId="66e9cce0-e37b-4645-a907-f7690bd68dfb" providerId="ADAL" clId="{A3599A74-B049-44EE-8670-DE420CF3148A}" dt="2024-10-17T14:21:00.331" v="1000" actId="1035"/>
          <ac:spMkLst>
            <pc:docMk/>
            <pc:sldMk cId="416905842" sldId="5163"/>
            <ac:spMk id="38" creationId="{75825BFD-0590-0064-1DB0-3560C4BC6CBC}"/>
          </ac:spMkLst>
        </pc:spChg>
        <pc:spChg chg="add mod">
          <ac:chgData name="Jacob, Karen (SPAC/PSPC) (elle-la / she-her)" userId="66e9cce0-e37b-4645-a907-f7690bd68dfb" providerId="ADAL" clId="{A3599A74-B049-44EE-8670-DE420CF3148A}" dt="2024-10-17T14:21:00.331" v="1000" actId="1035"/>
          <ac:spMkLst>
            <pc:docMk/>
            <pc:sldMk cId="416905842" sldId="5163"/>
            <ac:spMk id="40" creationId="{543AE277-053A-1846-322B-402EC8E55235}"/>
          </ac:spMkLst>
        </pc:spChg>
        <pc:spChg chg="add mod">
          <ac:chgData name="Jacob, Karen (SPAC/PSPC) (elle-la / she-her)" userId="66e9cce0-e37b-4645-a907-f7690bd68dfb" providerId="ADAL" clId="{A3599A74-B049-44EE-8670-DE420CF3148A}" dt="2024-10-17T14:21:00.331" v="1000" actId="1035"/>
          <ac:spMkLst>
            <pc:docMk/>
            <pc:sldMk cId="416905842" sldId="5163"/>
            <ac:spMk id="41" creationId="{6CC2F477-C447-01DD-A0EF-2C71D12FA9E7}"/>
          </ac:spMkLst>
        </pc:spChg>
        <pc:spChg chg="add mod">
          <ac:chgData name="Jacob, Karen (SPAC/PSPC) (elle-la / she-her)" userId="66e9cce0-e37b-4645-a907-f7690bd68dfb" providerId="ADAL" clId="{A3599A74-B049-44EE-8670-DE420CF3148A}" dt="2024-10-17T14:21:00.331" v="1000" actId="1035"/>
          <ac:spMkLst>
            <pc:docMk/>
            <pc:sldMk cId="416905842" sldId="5163"/>
            <ac:spMk id="42" creationId="{69A35460-9369-E06A-5878-2E3A1790FD06}"/>
          </ac:spMkLst>
        </pc:spChg>
        <pc:spChg chg="add mod">
          <ac:chgData name="Jacob, Karen (SPAC/PSPC) (elle-la / she-her)" userId="66e9cce0-e37b-4645-a907-f7690bd68dfb" providerId="ADAL" clId="{A3599A74-B049-44EE-8670-DE420CF3148A}" dt="2024-10-17T14:21:00.331" v="1000" actId="1035"/>
          <ac:spMkLst>
            <pc:docMk/>
            <pc:sldMk cId="416905842" sldId="5163"/>
            <ac:spMk id="43" creationId="{9EBD7031-D6B8-3C3F-6C21-36F88D9BB280}"/>
          </ac:spMkLst>
        </pc:spChg>
        <pc:spChg chg="add mod">
          <ac:chgData name="Jacob, Karen (SPAC/PSPC) (elle-la / she-her)" userId="66e9cce0-e37b-4645-a907-f7690bd68dfb" providerId="ADAL" clId="{A3599A74-B049-44EE-8670-DE420CF3148A}" dt="2024-10-17T14:21:00.331" v="1000" actId="1035"/>
          <ac:spMkLst>
            <pc:docMk/>
            <pc:sldMk cId="416905842" sldId="5163"/>
            <ac:spMk id="45" creationId="{1ECE98B4-7BDD-F02D-1EB2-4363C482AD8C}"/>
          </ac:spMkLst>
        </pc:spChg>
        <pc:spChg chg="add mod">
          <ac:chgData name="Jacob, Karen (SPAC/PSPC) (elle-la / she-her)" userId="66e9cce0-e37b-4645-a907-f7690bd68dfb" providerId="ADAL" clId="{A3599A74-B049-44EE-8670-DE420CF3148A}" dt="2024-10-17T14:21:00.331" v="1000" actId="1035"/>
          <ac:spMkLst>
            <pc:docMk/>
            <pc:sldMk cId="416905842" sldId="5163"/>
            <ac:spMk id="46" creationId="{038B6E04-26C2-25D3-B757-F068727BE88E}"/>
          </ac:spMkLst>
        </pc:spChg>
        <pc:spChg chg="add mod">
          <ac:chgData name="Jacob, Karen (SPAC/PSPC) (elle-la / she-her)" userId="66e9cce0-e37b-4645-a907-f7690bd68dfb" providerId="ADAL" clId="{A3599A74-B049-44EE-8670-DE420CF3148A}" dt="2024-10-17T14:21:00.331" v="1000" actId="1035"/>
          <ac:spMkLst>
            <pc:docMk/>
            <pc:sldMk cId="416905842" sldId="5163"/>
            <ac:spMk id="48" creationId="{5A7F9F9E-9175-F5DF-2A93-F1044995B2FB}"/>
          </ac:spMkLst>
        </pc:spChg>
        <pc:spChg chg="add mod">
          <ac:chgData name="Jacob, Karen (SPAC/PSPC) (elle-la / she-her)" userId="66e9cce0-e37b-4645-a907-f7690bd68dfb" providerId="ADAL" clId="{A3599A74-B049-44EE-8670-DE420CF3148A}" dt="2024-10-17T14:21:00.331" v="1000" actId="1035"/>
          <ac:spMkLst>
            <pc:docMk/>
            <pc:sldMk cId="416905842" sldId="5163"/>
            <ac:spMk id="49" creationId="{A91144D3-0AAE-DE72-53BE-E833CED731E5}"/>
          </ac:spMkLst>
        </pc:spChg>
        <pc:spChg chg="add mod">
          <ac:chgData name="Jacob, Karen (SPAC/PSPC) (elle-la / she-her)" userId="66e9cce0-e37b-4645-a907-f7690bd68dfb" providerId="ADAL" clId="{A3599A74-B049-44EE-8670-DE420CF3148A}" dt="2024-10-17T14:21:00.331" v="1000" actId="1035"/>
          <ac:spMkLst>
            <pc:docMk/>
            <pc:sldMk cId="416905842" sldId="5163"/>
            <ac:spMk id="50" creationId="{C12ED88E-D26B-D688-B79C-4074BFFD53F2}"/>
          </ac:spMkLst>
        </pc:spChg>
        <pc:spChg chg="add mod">
          <ac:chgData name="Jacob, Karen (SPAC/PSPC) (elle-la / she-her)" userId="66e9cce0-e37b-4645-a907-f7690bd68dfb" providerId="ADAL" clId="{A3599A74-B049-44EE-8670-DE420CF3148A}" dt="2024-10-17T14:21:00.331" v="1000" actId="1035"/>
          <ac:spMkLst>
            <pc:docMk/>
            <pc:sldMk cId="416905842" sldId="5163"/>
            <ac:spMk id="51" creationId="{879975FA-9ACA-8B4E-D7F8-5C70F88FD56A}"/>
          </ac:spMkLst>
        </pc:spChg>
        <pc:spChg chg="add mod">
          <ac:chgData name="Jacob, Karen (SPAC/PSPC) (elle-la / she-her)" userId="66e9cce0-e37b-4645-a907-f7690bd68dfb" providerId="ADAL" clId="{A3599A74-B049-44EE-8670-DE420CF3148A}" dt="2024-10-17T14:21:00.331" v="1000" actId="1035"/>
          <ac:spMkLst>
            <pc:docMk/>
            <pc:sldMk cId="416905842" sldId="5163"/>
            <ac:spMk id="52" creationId="{6058D165-FCA6-59E9-C32C-0F1C61DC16FD}"/>
          </ac:spMkLst>
        </pc:spChg>
        <pc:spChg chg="add mod">
          <ac:chgData name="Jacob, Karen (SPAC/PSPC) (elle-la / she-her)" userId="66e9cce0-e37b-4645-a907-f7690bd68dfb" providerId="ADAL" clId="{A3599A74-B049-44EE-8670-DE420CF3148A}" dt="2024-10-17T14:21:00.331" v="1000" actId="1035"/>
          <ac:spMkLst>
            <pc:docMk/>
            <pc:sldMk cId="416905842" sldId="5163"/>
            <ac:spMk id="54" creationId="{5E7B02DF-2558-19D5-EC05-27B8F4C6D40F}"/>
          </ac:spMkLst>
        </pc:spChg>
        <pc:spChg chg="add mod">
          <ac:chgData name="Jacob, Karen (SPAC/PSPC) (elle-la / she-her)" userId="66e9cce0-e37b-4645-a907-f7690bd68dfb" providerId="ADAL" clId="{A3599A74-B049-44EE-8670-DE420CF3148A}" dt="2024-10-17T14:21:00.331" v="1000" actId="1035"/>
          <ac:spMkLst>
            <pc:docMk/>
            <pc:sldMk cId="416905842" sldId="5163"/>
            <ac:spMk id="55" creationId="{55142A24-5EA0-F55D-51BB-D0DC887A2440}"/>
          </ac:spMkLst>
        </pc:spChg>
        <pc:cxnChg chg="add mod">
          <ac:chgData name="Jacob, Karen (SPAC/PSPC) (elle-la / she-her)" userId="66e9cce0-e37b-4645-a907-f7690bd68dfb" providerId="ADAL" clId="{A3599A74-B049-44EE-8670-DE420CF3148A}" dt="2024-10-17T14:21:00.331" v="1000" actId="1035"/>
          <ac:cxnSpMkLst>
            <pc:docMk/>
            <pc:sldMk cId="416905842" sldId="5163"/>
            <ac:cxnSpMk id="21" creationId="{FA7C870F-1F8C-F607-CBAC-3540C33D844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3" creationId="{60956224-3BBE-B324-6C51-85BF60ED8D62}"/>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29" creationId="{EB765993-0C2A-63E9-2E8E-2A0287F7F400}"/>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2" creationId="{C41D0D38-D37A-C702-1711-C04AE3FE434C}"/>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7" creationId="{28AFBD7B-8DB2-DBD0-C274-7148A919B674}"/>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39" creationId="{E49B0FD2-5582-BF26-495F-0F4CB8A7FDD1}"/>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4" creationId="{BBBCF7AD-D691-FEB7-4DC9-3FDC9ED648A5}"/>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47" creationId="{FDB8C5F9-1293-B0D8-5E61-88BC09F5547E}"/>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3" creationId="{247E69B8-4C2E-D203-B1A6-289EBF09FF47}"/>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6" creationId="{BD62BE99-7E43-F3E2-3AC9-8D1D1B910FE6}"/>
          </ac:cxnSpMkLst>
        </pc:cxnChg>
        <pc:cxnChg chg="add mod">
          <ac:chgData name="Jacob, Karen (SPAC/PSPC) (elle-la / she-her)" userId="66e9cce0-e37b-4645-a907-f7690bd68dfb" providerId="ADAL" clId="{A3599A74-B049-44EE-8670-DE420CF3148A}" dt="2024-10-17T14:21:00.331" v="1000" actId="1035"/>
          <ac:cxnSpMkLst>
            <pc:docMk/>
            <pc:sldMk cId="416905842" sldId="5163"/>
            <ac:cxnSpMk id="57" creationId="{69D49AD1-DF40-D8F6-3AEA-DCDBB884942B}"/>
          </ac:cxnSpMkLst>
        </pc:cxnChg>
        <pc:cxnChg chg="add mod">
          <ac:chgData name="Jacob, Karen (SPAC/PSPC) (elle-la / she-her)" userId="66e9cce0-e37b-4645-a907-f7690bd68dfb" providerId="ADAL" clId="{A3599A74-B049-44EE-8670-DE420CF3148A}" dt="2024-10-17T14:21:47.366" v="1037" actId="14100"/>
          <ac:cxnSpMkLst>
            <pc:docMk/>
            <pc:sldMk cId="416905842" sldId="5163"/>
            <ac:cxnSpMk id="58" creationId="{73A11CBD-27CB-DF5A-70FD-69B0EF2C1262}"/>
          </ac:cxnSpMkLst>
        </pc:cxnChg>
      </pc:sldChg>
      <pc:sldChg chg="addSp delSp modSp add mod modCm modNotesTx">
        <pc:chgData name="Jacob, Karen (SPAC/PSPC) (elle-la / she-her)" userId="66e9cce0-e37b-4645-a907-f7690bd68dfb" providerId="ADAL" clId="{A3599A74-B049-44EE-8670-DE420CF3148A}" dt="2024-10-30T19:21:15.087" v="19693" actId="20577"/>
        <pc:sldMkLst>
          <pc:docMk/>
          <pc:sldMk cId="2643018674" sldId="5164"/>
        </pc:sldMkLst>
        <pc:spChg chg="mod">
          <ac:chgData name="Jacob, Karen (SPAC/PSPC) (elle-la / she-her)" userId="66e9cce0-e37b-4645-a907-f7690bd68dfb" providerId="ADAL" clId="{A3599A74-B049-44EE-8670-DE420CF3148A}" dt="2024-10-18T14:45:56.525" v="5353" actId="207"/>
          <ac:spMkLst>
            <pc:docMk/>
            <pc:sldMk cId="2643018674" sldId="5164"/>
            <ac:spMk id="3" creationId="{41BE6B50-88EB-D2A5-67D3-AD36A9027E26}"/>
          </ac:spMkLst>
        </pc:spChg>
        <pc:spChg chg="add del mod">
          <ac:chgData name="Jacob, Karen (SPAC/PSPC) (elle-la / she-her)" userId="66e9cce0-e37b-4645-a907-f7690bd68dfb" providerId="ADAL" clId="{A3599A74-B049-44EE-8670-DE420CF3148A}" dt="2024-10-18T14:45:25.361" v="5344" actId="478"/>
          <ac:spMkLst>
            <pc:docMk/>
            <pc:sldMk cId="2643018674" sldId="5164"/>
            <ac:spMk id="4" creationId="{630D77A7-4E8E-7081-F0AC-4F3053A49FAC}"/>
          </ac:spMkLst>
        </pc:spChg>
        <pc:spChg chg="mod">
          <ac:chgData name="Jacob, Karen (SPAC/PSPC) (elle-la / she-her)" userId="66e9cce0-e37b-4645-a907-f7690bd68dfb" providerId="ADAL" clId="{A3599A74-B049-44EE-8670-DE420CF3148A}" dt="2024-10-23T19:06:56.131" v="10092" actId="20577"/>
          <ac:spMkLst>
            <pc:docMk/>
            <pc:sldMk cId="2643018674" sldId="5164"/>
            <ac:spMk id="5" creationId="{D0DACE9A-1229-9EEE-A180-51B071D4E977}"/>
          </ac:spMkLst>
        </pc:spChg>
        <pc:spChg chg="add mod">
          <ac:chgData name="Jacob, Karen (SPAC/PSPC) (elle-la / she-her)" userId="66e9cce0-e37b-4645-a907-f7690bd68dfb" providerId="ADAL" clId="{A3599A74-B049-44EE-8670-DE420CF3148A}" dt="2024-10-18T14:51:21.611" v="5465" actId="1035"/>
          <ac:spMkLst>
            <pc:docMk/>
            <pc:sldMk cId="2643018674" sldId="5164"/>
            <ac:spMk id="6" creationId="{C37AB966-CDBE-2C55-3F98-CA62BB152F01}"/>
          </ac:spMkLst>
        </pc:spChg>
        <pc:spChg chg="add mod">
          <ac:chgData name="Jacob, Karen (SPAC/PSPC) (elle-la / she-her)" userId="66e9cce0-e37b-4645-a907-f7690bd68dfb" providerId="ADAL" clId="{A3599A74-B049-44EE-8670-DE420CF3148A}" dt="2024-10-18T14:51:21.611" v="5465" actId="1035"/>
          <ac:spMkLst>
            <pc:docMk/>
            <pc:sldMk cId="2643018674" sldId="5164"/>
            <ac:spMk id="7" creationId="{C62EB4E4-F735-AD30-5AD4-F4E6B822F95C}"/>
          </ac:spMkLst>
        </pc:spChg>
        <pc:spChg chg="add mod">
          <ac:chgData name="Jacob, Karen (SPAC/PSPC) (elle-la / she-her)" userId="66e9cce0-e37b-4645-a907-f7690bd68dfb" providerId="ADAL" clId="{A3599A74-B049-44EE-8670-DE420CF3148A}" dt="2024-10-18T14:51:21.611" v="5465" actId="1035"/>
          <ac:spMkLst>
            <pc:docMk/>
            <pc:sldMk cId="2643018674" sldId="5164"/>
            <ac:spMk id="8" creationId="{44BC3EAC-3980-4F07-943B-6EC20B7A7BDE}"/>
          </ac:spMkLst>
        </pc:spChg>
        <pc:spChg chg="add mod">
          <ac:chgData name="Jacob, Karen (SPAC/PSPC) (elle-la / she-her)" userId="66e9cce0-e37b-4645-a907-f7690bd68dfb" providerId="ADAL" clId="{A3599A74-B049-44EE-8670-DE420CF3148A}" dt="2024-10-18T14:51:21.611" v="5465" actId="1035"/>
          <ac:spMkLst>
            <pc:docMk/>
            <pc:sldMk cId="2643018674" sldId="5164"/>
            <ac:spMk id="9" creationId="{AAE94596-646F-19F0-2DAB-4EB93FB2F7D0}"/>
          </ac:spMkLst>
        </pc:spChg>
        <pc:spChg chg="add mod">
          <ac:chgData name="Jacob, Karen (SPAC/PSPC) (elle-la / she-her)" userId="66e9cce0-e37b-4645-a907-f7690bd68dfb" providerId="ADAL" clId="{A3599A74-B049-44EE-8670-DE420CF3148A}" dt="2024-10-18T14:51:21.611" v="5465" actId="1035"/>
          <ac:spMkLst>
            <pc:docMk/>
            <pc:sldMk cId="2643018674" sldId="5164"/>
            <ac:spMk id="10" creationId="{DB8B833A-09AE-E2B0-B009-6B66BB533DDE}"/>
          </ac:spMkLst>
        </pc:spChg>
        <pc:spChg chg="add mod">
          <ac:chgData name="Jacob, Karen (SPAC/PSPC) (elle-la / she-her)" userId="66e9cce0-e37b-4645-a907-f7690bd68dfb" providerId="ADAL" clId="{A3599A74-B049-44EE-8670-DE420CF3148A}" dt="2024-10-30T19:19:47.685" v="19531" actId="313"/>
          <ac:spMkLst>
            <pc:docMk/>
            <pc:sldMk cId="2643018674" sldId="5164"/>
            <ac:spMk id="12" creationId="{6A3B9CD2-AFBF-BEF4-7CE5-AED963949FAC}"/>
          </ac:spMkLst>
        </pc:spChg>
        <pc:spChg chg="del mod">
          <ac:chgData name="Jacob, Karen (SPAC/PSPC) (elle-la / she-her)" userId="66e9cce0-e37b-4645-a907-f7690bd68dfb" providerId="ADAL" clId="{A3599A74-B049-44EE-8670-DE420CF3148A}" dt="2024-10-18T14:25:25.755" v="4978" actId="478"/>
          <ac:spMkLst>
            <pc:docMk/>
            <pc:sldMk cId="2643018674" sldId="5164"/>
            <ac:spMk id="14" creationId="{046FB493-EF08-FA10-FBE0-60F40D90CFED}"/>
          </ac:spMkLst>
        </pc:spChg>
        <pc:spChg chg="del mod">
          <ac:chgData name="Jacob, Karen (SPAC/PSPC) (elle-la / she-her)" userId="66e9cce0-e37b-4645-a907-f7690bd68dfb" providerId="ADAL" clId="{A3599A74-B049-44EE-8670-DE420CF3148A}" dt="2024-10-18T14:25:17.812" v="4976" actId="478"/>
          <ac:spMkLst>
            <pc:docMk/>
            <pc:sldMk cId="2643018674" sldId="5164"/>
            <ac:spMk id="17" creationId="{6CC185E3-220B-567A-2F6B-C8366D23654B}"/>
          </ac:spMkLst>
        </pc:spChg>
        <pc:spChg chg="del mod topLvl">
          <ac:chgData name="Jacob, Karen (SPAC/PSPC) (elle-la / she-her)" userId="66e9cce0-e37b-4645-a907-f7690bd68dfb" providerId="ADAL" clId="{A3599A74-B049-44EE-8670-DE420CF3148A}" dt="2024-10-18T14:25:28.845" v="4979" actId="478"/>
          <ac:spMkLst>
            <pc:docMk/>
            <pc:sldMk cId="2643018674" sldId="5164"/>
            <ac:spMk id="18" creationId="{004916C5-9EA7-1D4F-E1FF-6F0F6EBCE54C}"/>
          </ac:spMkLst>
        </pc:spChg>
        <pc:spChg chg="del mod">
          <ac:chgData name="Jacob, Karen (SPAC/PSPC) (elle-la / she-her)" userId="66e9cce0-e37b-4645-a907-f7690bd68dfb" providerId="ADAL" clId="{A3599A74-B049-44EE-8670-DE420CF3148A}" dt="2024-10-18T14:25:22.195" v="4977" actId="478"/>
          <ac:spMkLst>
            <pc:docMk/>
            <pc:sldMk cId="2643018674" sldId="5164"/>
            <ac:spMk id="19" creationId="{D2C29C56-AF57-D668-7896-D6A077834000}"/>
          </ac:spMkLst>
        </pc:spChg>
        <pc:spChg chg="mod">
          <ac:chgData name="Jacob, Karen (SPAC/PSPC) (elle-la / she-her)" userId="66e9cce0-e37b-4645-a907-f7690bd68dfb" providerId="ADAL" clId="{A3599A74-B049-44EE-8670-DE420CF3148A}" dt="2024-10-18T14:25:14.272" v="4975"/>
          <ac:spMkLst>
            <pc:docMk/>
            <pc:sldMk cId="2643018674" sldId="5164"/>
            <ac:spMk id="22" creationId="{D584EBA7-CBDB-A407-2BDD-101FF8371B4B}"/>
          </ac:spMkLst>
        </pc:spChg>
        <pc:spChg chg="mod">
          <ac:chgData name="Jacob, Karen (SPAC/PSPC) (elle-la / she-her)" userId="66e9cce0-e37b-4645-a907-f7690bd68dfb" providerId="ADAL" clId="{A3599A74-B049-44EE-8670-DE420CF3148A}" dt="2024-10-18T14:25:14.272" v="4975"/>
          <ac:spMkLst>
            <pc:docMk/>
            <pc:sldMk cId="2643018674" sldId="5164"/>
            <ac:spMk id="24" creationId="{55E0100F-188C-1B9D-8084-05834FD5FF64}"/>
          </ac:spMkLst>
        </pc:spChg>
        <pc:spChg chg="mod">
          <ac:chgData name="Jacob, Karen (SPAC/PSPC) (elle-la / she-her)" userId="66e9cce0-e37b-4645-a907-f7690bd68dfb" providerId="ADAL" clId="{A3599A74-B049-44EE-8670-DE420CF3148A}" dt="2024-10-18T14:25:14.272" v="4975"/>
          <ac:spMkLst>
            <pc:docMk/>
            <pc:sldMk cId="2643018674" sldId="5164"/>
            <ac:spMk id="25" creationId="{7E4519B3-99F1-CC09-4C1F-244341920E23}"/>
          </ac:spMkLst>
        </pc:spChg>
        <pc:spChg chg="mod">
          <ac:chgData name="Jacob, Karen (SPAC/PSPC) (elle-la / she-her)" userId="66e9cce0-e37b-4645-a907-f7690bd68dfb" providerId="ADAL" clId="{A3599A74-B049-44EE-8670-DE420CF3148A}" dt="2024-10-18T14:25:14.272" v="4975"/>
          <ac:spMkLst>
            <pc:docMk/>
            <pc:sldMk cId="2643018674" sldId="5164"/>
            <ac:spMk id="27" creationId="{65E9AD83-F111-1708-33A6-EE8AFE212572}"/>
          </ac:spMkLst>
        </pc:spChg>
        <pc:spChg chg="mod">
          <ac:chgData name="Jacob, Karen (SPAC/PSPC) (elle-la / she-her)" userId="66e9cce0-e37b-4645-a907-f7690bd68dfb" providerId="ADAL" clId="{A3599A74-B049-44EE-8670-DE420CF3148A}" dt="2024-10-18T14:25:14.272" v="4975"/>
          <ac:spMkLst>
            <pc:docMk/>
            <pc:sldMk cId="2643018674" sldId="5164"/>
            <ac:spMk id="28" creationId="{CB36570A-847F-6211-9E8D-F1FC8D86F233}"/>
          </ac:spMkLst>
        </pc:spChg>
        <pc:spChg chg="mod">
          <ac:chgData name="Jacob, Karen (SPAC/PSPC) (elle-la / she-her)" userId="66e9cce0-e37b-4645-a907-f7690bd68dfb" providerId="ADAL" clId="{A3599A74-B049-44EE-8670-DE420CF3148A}" dt="2024-10-18T14:25:14.272" v="4975"/>
          <ac:spMkLst>
            <pc:docMk/>
            <pc:sldMk cId="2643018674" sldId="5164"/>
            <ac:spMk id="29" creationId="{A0E6025E-4C39-C492-A915-0923EEAF50C3}"/>
          </ac:spMkLst>
        </pc:spChg>
        <pc:spChg chg="mod">
          <ac:chgData name="Jacob, Karen (SPAC/PSPC) (elle-la / she-her)" userId="66e9cce0-e37b-4645-a907-f7690bd68dfb" providerId="ADAL" clId="{A3599A74-B049-44EE-8670-DE420CF3148A}" dt="2024-10-18T14:25:14.272" v="4975"/>
          <ac:spMkLst>
            <pc:docMk/>
            <pc:sldMk cId="2643018674" sldId="5164"/>
            <ac:spMk id="30" creationId="{AAAE6B21-C3F0-6199-D232-26038649B816}"/>
          </ac:spMkLst>
        </pc:spChg>
        <pc:spChg chg="mod">
          <ac:chgData name="Jacob, Karen (SPAC/PSPC) (elle-la / she-her)" userId="66e9cce0-e37b-4645-a907-f7690bd68dfb" providerId="ADAL" clId="{A3599A74-B049-44EE-8670-DE420CF3148A}" dt="2024-10-18T14:25:14.272" v="4975"/>
          <ac:spMkLst>
            <pc:docMk/>
            <pc:sldMk cId="2643018674" sldId="5164"/>
            <ac:spMk id="31" creationId="{89E509A3-75F3-8F87-9867-A8DE1833F316}"/>
          </ac:spMkLst>
        </pc:spChg>
        <pc:spChg chg="mod">
          <ac:chgData name="Jacob, Karen (SPAC/PSPC) (elle-la / she-her)" userId="66e9cce0-e37b-4645-a907-f7690bd68dfb" providerId="ADAL" clId="{A3599A74-B049-44EE-8670-DE420CF3148A}" dt="2024-10-18T14:25:14.272" v="4975"/>
          <ac:spMkLst>
            <pc:docMk/>
            <pc:sldMk cId="2643018674" sldId="5164"/>
            <ac:spMk id="32" creationId="{ECF0CEEC-AB10-73F8-FF53-285777A5B406}"/>
          </ac:spMkLst>
        </pc:spChg>
        <pc:spChg chg="mod">
          <ac:chgData name="Jacob, Karen (SPAC/PSPC) (elle-la / she-her)" userId="66e9cce0-e37b-4645-a907-f7690bd68dfb" providerId="ADAL" clId="{A3599A74-B049-44EE-8670-DE420CF3148A}" dt="2024-10-18T14:25:14.272" v="4975"/>
          <ac:spMkLst>
            <pc:docMk/>
            <pc:sldMk cId="2643018674" sldId="5164"/>
            <ac:spMk id="33" creationId="{0FCF7426-61A4-CE77-0571-2803ED7E58A4}"/>
          </ac:spMkLst>
        </pc:spChg>
        <pc:spChg chg="mod">
          <ac:chgData name="Jacob, Karen (SPAC/PSPC) (elle-la / she-her)" userId="66e9cce0-e37b-4645-a907-f7690bd68dfb" providerId="ADAL" clId="{A3599A74-B049-44EE-8670-DE420CF3148A}" dt="2024-10-18T14:25:14.272" v="4975"/>
          <ac:spMkLst>
            <pc:docMk/>
            <pc:sldMk cId="2643018674" sldId="5164"/>
            <ac:spMk id="34" creationId="{FA3BA803-3597-2254-D69E-CD3D12F6567E}"/>
          </ac:spMkLst>
        </pc:spChg>
        <pc:spChg chg="mod">
          <ac:chgData name="Jacob, Karen (SPAC/PSPC) (elle-la / she-her)" userId="66e9cce0-e37b-4645-a907-f7690bd68dfb" providerId="ADAL" clId="{A3599A74-B049-44EE-8670-DE420CF3148A}" dt="2024-10-18T14:25:14.272" v="4975"/>
          <ac:spMkLst>
            <pc:docMk/>
            <pc:sldMk cId="2643018674" sldId="5164"/>
            <ac:spMk id="35" creationId="{93B4F391-5FE1-2DEB-CFAE-4D5EDFFA556E}"/>
          </ac:spMkLst>
        </pc:spChg>
        <pc:spChg chg="mod">
          <ac:chgData name="Jacob, Karen (SPAC/PSPC) (elle-la / she-her)" userId="66e9cce0-e37b-4645-a907-f7690bd68dfb" providerId="ADAL" clId="{A3599A74-B049-44EE-8670-DE420CF3148A}" dt="2024-10-18T14:25:14.272" v="4975"/>
          <ac:spMkLst>
            <pc:docMk/>
            <pc:sldMk cId="2643018674" sldId="5164"/>
            <ac:spMk id="36" creationId="{59532803-71DA-1110-F913-BCDFFF195AA2}"/>
          </ac:spMkLst>
        </pc:spChg>
        <pc:spChg chg="mod">
          <ac:chgData name="Jacob, Karen (SPAC/PSPC) (elle-la / she-her)" userId="66e9cce0-e37b-4645-a907-f7690bd68dfb" providerId="ADAL" clId="{A3599A74-B049-44EE-8670-DE420CF3148A}" dt="2024-10-18T14:25:14.272" v="4975"/>
          <ac:spMkLst>
            <pc:docMk/>
            <pc:sldMk cId="2643018674" sldId="5164"/>
            <ac:spMk id="37" creationId="{94A45180-175A-1288-BEF0-14A28278F207}"/>
          </ac:spMkLst>
        </pc:spChg>
        <pc:spChg chg="mod">
          <ac:chgData name="Jacob, Karen (SPAC/PSPC) (elle-la / she-her)" userId="66e9cce0-e37b-4645-a907-f7690bd68dfb" providerId="ADAL" clId="{A3599A74-B049-44EE-8670-DE420CF3148A}" dt="2024-10-18T14:25:14.272" v="4975"/>
          <ac:spMkLst>
            <pc:docMk/>
            <pc:sldMk cId="2643018674" sldId="5164"/>
            <ac:spMk id="38" creationId="{F54DE717-ED71-3083-7314-4CD9D1EEF68D}"/>
          </ac:spMkLst>
        </pc:spChg>
        <pc:spChg chg="mod">
          <ac:chgData name="Jacob, Karen (SPAC/PSPC) (elle-la / she-her)" userId="66e9cce0-e37b-4645-a907-f7690bd68dfb" providerId="ADAL" clId="{A3599A74-B049-44EE-8670-DE420CF3148A}" dt="2024-10-18T14:25:14.272" v="4975"/>
          <ac:spMkLst>
            <pc:docMk/>
            <pc:sldMk cId="2643018674" sldId="5164"/>
            <ac:spMk id="39" creationId="{0A9CADB0-5230-F233-24FF-594559B7912B}"/>
          </ac:spMkLst>
        </pc:spChg>
        <pc:spChg chg="mod">
          <ac:chgData name="Jacob, Karen (SPAC/PSPC) (elle-la / she-her)" userId="66e9cce0-e37b-4645-a907-f7690bd68dfb" providerId="ADAL" clId="{A3599A74-B049-44EE-8670-DE420CF3148A}" dt="2024-10-18T14:25:14.272" v="4975"/>
          <ac:spMkLst>
            <pc:docMk/>
            <pc:sldMk cId="2643018674" sldId="5164"/>
            <ac:spMk id="40" creationId="{1B407058-991F-EA26-99EE-3547CE642656}"/>
          </ac:spMkLst>
        </pc:spChg>
        <pc:spChg chg="mod">
          <ac:chgData name="Jacob, Karen (SPAC/PSPC) (elle-la / she-her)" userId="66e9cce0-e37b-4645-a907-f7690bd68dfb" providerId="ADAL" clId="{A3599A74-B049-44EE-8670-DE420CF3148A}" dt="2024-10-18T14:25:14.272" v="4975"/>
          <ac:spMkLst>
            <pc:docMk/>
            <pc:sldMk cId="2643018674" sldId="5164"/>
            <ac:spMk id="41" creationId="{E9EE14A2-571E-EE6E-80E4-9E70EE820063}"/>
          </ac:spMkLst>
        </pc:spChg>
        <pc:spChg chg="mod">
          <ac:chgData name="Jacob, Karen (SPAC/PSPC) (elle-la / she-her)" userId="66e9cce0-e37b-4645-a907-f7690bd68dfb" providerId="ADAL" clId="{A3599A74-B049-44EE-8670-DE420CF3148A}" dt="2024-10-18T14:25:14.272" v="4975"/>
          <ac:spMkLst>
            <pc:docMk/>
            <pc:sldMk cId="2643018674" sldId="5164"/>
            <ac:spMk id="42" creationId="{DA1B0F08-AC42-81A8-48B4-A009F9707157}"/>
          </ac:spMkLst>
        </pc:spChg>
        <pc:spChg chg="mod">
          <ac:chgData name="Jacob, Karen (SPAC/PSPC) (elle-la / she-her)" userId="66e9cce0-e37b-4645-a907-f7690bd68dfb" providerId="ADAL" clId="{A3599A74-B049-44EE-8670-DE420CF3148A}" dt="2024-10-18T14:25:14.272" v="4975"/>
          <ac:spMkLst>
            <pc:docMk/>
            <pc:sldMk cId="2643018674" sldId="5164"/>
            <ac:spMk id="43" creationId="{06E350D4-531C-9E88-E71B-AD07ED026359}"/>
          </ac:spMkLst>
        </pc:spChg>
        <pc:spChg chg="mod">
          <ac:chgData name="Jacob, Karen (SPAC/PSPC) (elle-la / she-her)" userId="66e9cce0-e37b-4645-a907-f7690bd68dfb" providerId="ADAL" clId="{A3599A74-B049-44EE-8670-DE420CF3148A}" dt="2024-10-18T14:25:14.272" v="4975"/>
          <ac:spMkLst>
            <pc:docMk/>
            <pc:sldMk cId="2643018674" sldId="5164"/>
            <ac:spMk id="44" creationId="{E1A37DB1-37E6-480D-F6A3-4B4B43F9EED5}"/>
          </ac:spMkLst>
        </pc:spChg>
        <pc:spChg chg="mod">
          <ac:chgData name="Jacob, Karen (SPAC/PSPC) (elle-la / she-her)" userId="66e9cce0-e37b-4645-a907-f7690bd68dfb" providerId="ADAL" clId="{A3599A74-B049-44EE-8670-DE420CF3148A}" dt="2024-10-18T14:25:14.272" v="4975"/>
          <ac:spMkLst>
            <pc:docMk/>
            <pc:sldMk cId="2643018674" sldId="5164"/>
            <ac:spMk id="45" creationId="{4B8B2B05-931F-4821-C654-43809A0C6398}"/>
          </ac:spMkLst>
        </pc:spChg>
        <pc:spChg chg="mod">
          <ac:chgData name="Jacob, Karen (SPAC/PSPC) (elle-la / she-her)" userId="66e9cce0-e37b-4645-a907-f7690bd68dfb" providerId="ADAL" clId="{A3599A74-B049-44EE-8670-DE420CF3148A}" dt="2024-10-18T14:25:14.272" v="4975"/>
          <ac:spMkLst>
            <pc:docMk/>
            <pc:sldMk cId="2643018674" sldId="5164"/>
            <ac:spMk id="46" creationId="{E05CDB04-758F-A16E-0C7C-81482A944D84}"/>
          </ac:spMkLst>
        </pc:spChg>
        <pc:spChg chg="mod">
          <ac:chgData name="Jacob, Karen (SPAC/PSPC) (elle-la / she-her)" userId="66e9cce0-e37b-4645-a907-f7690bd68dfb" providerId="ADAL" clId="{A3599A74-B049-44EE-8670-DE420CF3148A}" dt="2024-10-18T14:25:14.272" v="4975"/>
          <ac:spMkLst>
            <pc:docMk/>
            <pc:sldMk cId="2643018674" sldId="5164"/>
            <ac:spMk id="47" creationId="{41D15CB2-0185-C50E-B34A-7DC9BAFEC86E}"/>
          </ac:spMkLst>
        </pc:spChg>
        <pc:spChg chg="mod">
          <ac:chgData name="Jacob, Karen (SPAC/PSPC) (elle-la / she-her)" userId="66e9cce0-e37b-4645-a907-f7690bd68dfb" providerId="ADAL" clId="{A3599A74-B049-44EE-8670-DE420CF3148A}" dt="2024-10-18T14:25:14.272" v="4975"/>
          <ac:spMkLst>
            <pc:docMk/>
            <pc:sldMk cId="2643018674" sldId="5164"/>
            <ac:spMk id="48" creationId="{75E7B4C9-F60F-E60D-1203-37883966A6FD}"/>
          </ac:spMkLst>
        </pc:spChg>
        <pc:spChg chg="mod">
          <ac:chgData name="Jacob, Karen (SPAC/PSPC) (elle-la / she-her)" userId="66e9cce0-e37b-4645-a907-f7690bd68dfb" providerId="ADAL" clId="{A3599A74-B049-44EE-8670-DE420CF3148A}" dt="2024-10-18T14:25:14.272" v="4975"/>
          <ac:spMkLst>
            <pc:docMk/>
            <pc:sldMk cId="2643018674" sldId="5164"/>
            <ac:spMk id="49" creationId="{467CA39C-152F-D143-16E6-F0AEBF1F0EF6}"/>
          </ac:spMkLst>
        </pc:spChg>
        <pc:spChg chg="mod">
          <ac:chgData name="Jacob, Karen (SPAC/PSPC) (elle-la / she-her)" userId="66e9cce0-e37b-4645-a907-f7690bd68dfb" providerId="ADAL" clId="{A3599A74-B049-44EE-8670-DE420CF3148A}" dt="2024-10-18T14:25:14.272" v="4975"/>
          <ac:spMkLst>
            <pc:docMk/>
            <pc:sldMk cId="2643018674" sldId="5164"/>
            <ac:spMk id="50" creationId="{169AFF5D-67CE-AA9F-C71D-910F3D59E065}"/>
          </ac:spMkLst>
        </pc:spChg>
        <pc:spChg chg="mod">
          <ac:chgData name="Jacob, Karen (SPAC/PSPC) (elle-la / she-her)" userId="66e9cce0-e37b-4645-a907-f7690bd68dfb" providerId="ADAL" clId="{A3599A74-B049-44EE-8670-DE420CF3148A}" dt="2024-10-18T14:25:14.272" v="4975"/>
          <ac:spMkLst>
            <pc:docMk/>
            <pc:sldMk cId="2643018674" sldId="5164"/>
            <ac:spMk id="51" creationId="{17644F83-71B6-9560-AF3E-09A8872C809B}"/>
          </ac:spMkLst>
        </pc:spChg>
        <pc:spChg chg="mod">
          <ac:chgData name="Jacob, Karen (SPAC/PSPC) (elle-la / she-her)" userId="66e9cce0-e37b-4645-a907-f7690bd68dfb" providerId="ADAL" clId="{A3599A74-B049-44EE-8670-DE420CF3148A}" dt="2024-10-18T14:25:14.272" v="4975"/>
          <ac:spMkLst>
            <pc:docMk/>
            <pc:sldMk cId="2643018674" sldId="5164"/>
            <ac:spMk id="52" creationId="{D9375901-672F-F732-57F8-D153D824344D}"/>
          </ac:spMkLst>
        </pc:spChg>
        <pc:spChg chg="mod">
          <ac:chgData name="Jacob, Karen (SPAC/PSPC) (elle-la / she-her)" userId="66e9cce0-e37b-4645-a907-f7690bd68dfb" providerId="ADAL" clId="{A3599A74-B049-44EE-8670-DE420CF3148A}" dt="2024-10-18T14:25:14.272" v="4975"/>
          <ac:spMkLst>
            <pc:docMk/>
            <pc:sldMk cId="2643018674" sldId="5164"/>
            <ac:spMk id="53" creationId="{B9F6722B-6928-3A6A-BBB8-231A8B9E3259}"/>
          </ac:spMkLst>
        </pc:spChg>
        <pc:spChg chg="mod">
          <ac:chgData name="Jacob, Karen (SPAC/PSPC) (elle-la / she-her)" userId="66e9cce0-e37b-4645-a907-f7690bd68dfb" providerId="ADAL" clId="{A3599A74-B049-44EE-8670-DE420CF3148A}" dt="2024-10-18T14:25:14.272" v="4975"/>
          <ac:spMkLst>
            <pc:docMk/>
            <pc:sldMk cId="2643018674" sldId="5164"/>
            <ac:spMk id="54" creationId="{15F08EEC-C863-3F61-556F-64BE7ED31590}"/>
          </ac:spMkLst>
        </pc:spChg>
        <pc:spChg chg="mod">
          <ac:chgData name="Jacob, Karen (SPAC/PSPC) (elle-la / she-her)" userId="66e9cce0-e37b-4645-a907-f7690bd68dfb" providerId="ADAL" clId="{A3599A74-B049-44EE-8670-DE420CF3148A}" dt="2024-10-18T14:25:14.272" v="4975"/>
          <ac:spMkLst>
            <pc:docMk/>
            <pc:sldMk cId="2643018674" sldId="5164"/>
            <ac:spMk id="55" creationId="{731C5ADA-D8AA-6942-B963-257CD97AA0F9}"/>
          </ac:spMkLst>
        </pc:spChg>
        <pc:spChg chg="mod">
          <ac:chgData name="Jacob, Karen (SPAC/PSPC) (elle-la / she-her)" userId="66e9cce0-e37b-4645-a907-f7690bd68dfb" providerId="ADAL" clId="{A3599A74-B049-44EE-8670-DE420CF3148A}" dt="2024-10-18T14:25:14.272" v="4975"/>
          <ac:spMkLst>
            <pc:docMk/>
            <pc:sldMk cId="2643018674" sldId="5164"/>
            <ac:spMk id="56" creationId="{6C95EF8D-478B-B864-D6F8-128D10DBE16A}"/>
          </ac:spMkLst>
        </pc:spChg>
        <pc:spChg chg="mod">
          <ac:chgData name="Jacob, Karen (SPAC/PSPC) (elle-la / she-her)" userId="66e9cce0-e37b-4645-a907-f7690bd68dfb" providerId="ADAL" clId="{A3599A74-B049-44EE-8670-DE420CF3148A}" dt="2024-10-18T14:25:14.272" v="4975"/>
          <ac:spMkLst>
            <pc:docMk/>
            <pc:sldMk cId="2643018674" sldId="5164"/>
            <ac:spMk id="57" creationId="{816207AB-4332-E282-4740-48B60179E40B}"/>
          </ac:spMkLst>
        </pc:spChg>
        <pc:spChg chg="mod">
          <ac:chgData name="Jacob, Karen (SPAC/PSPC) (elle-la / she-her)" userId="66e9cce0-e37b-4645-a907-f7690bd68dfb" providerId="ADAL" clId="{A3599A74-B049-44EE-8670-DE420CF3148A}" dt="2024-10-18T14:25:14.272" v="4975"/>
          <ac:spMkLst>
            <pc:docMk/>
            <pc:sldMk cId="2643018674" sldId="5164"/>
            <ac:spMk id="58" creationId="{DCF93223-AC8F-F71A-B2CD-96C59C41CF86}"/>
          </ac:spMkLst>
        </pc:spChg>
        <pc:spChg chg="mod">
          <ac:chgData name="Jacob, Karen (SPAC/PSPC) (elle-la / she-her)" userId="66e9cce0-e37b-4645-a907-f7690bd68dfb" providerId="ADAL" clId="{A3599A74-B049-44EE-8670-DE420CF3148A}" dt="2024-10-18T14:25:14.272" v="4975"/>
          <ac:spMkLst>
            <pc:docMk/>
            <pc:sldMk cId="2643018674" sldId="5164"/>
            <ac:spMk id="59" creationId="{EA713421-7FA7-25D0-032C-C974F1F3841F}"/>
          </ac:spMkLst>
        </pc:spChg>
        <pc:spChg chg="mod">
          <ac:chgData name="Jacob, Karen (SPAC/PSPC) (elle-la / she-her)" userId="66e9cce0-e37b-4645-a907-f7690bd68dfb" providerId="ADAL" clId="{A3599A74-B049-44EE-8670-DE420CF3148A}" dt="2024-10-18T14:25:14.272" v="4975"/>
          <ac:spMkLst>
            <pc:docMk/>
            <pc:sldMk cId="2643018674" sldId="5164"/>
            <ac:spMk id="60" creationId="{8A37BC0E-C32F-FF48-941E-D60AD0227F5D}"/>
          </ac:spMkLst>
        </pc:spChg>
        <pc:spChg chg="mod">
          <ac:chgData name="Jacob, Karen (SPAC/PSPC) (elle-la / she-her)" userId="66e9cce0-e37b-4645-a907-f7690bd68dfb" providerId="ADAL" clId="{A3599A74-B049-44EE-8670-DE420CF3148A}" dt="2024-10-18T14:25:14.272" v="4975"/>
          <ac:spMkLst>
            <pc:docMk/>
            <pc:sldMk cId="2643018674" sldId="5164"/>
            <ac:spMk id="61" creationId="{3CC2548D-A9D4-809D-5138-69D680046072}"/>
          </ac:spMkLst>
        </pc:spChg>
        <pc:spChg chg="mod">
          <ac:chgData name="Jacob, Karen (SPAC/PSPC) (elle-la / she-her)" userId="66e9cce0-e37b-4645-a907-f7690bd68dfb" providerId="ADAL" clId="{A3599A74-B049-44EE-8670-DE420CF3148A}" dt="2024-10-18T14:25:14.272" v="4975"/>
          <ac:spMkLst>
            <pc:docMk/>
            <pc:sldMk cId="2643018674" sldId="5164"/>
            <ac:spMk id="62" creationId="{308C2919-034B-E990-F46C-54F7529BB2C5}"/>
          </ac:spMkLst>
        </pc:spChg>
        <pc:spChg chg="mod">
          <ac:chgData name="Jacob, Karen (SPAC/PSPC) (elle-la / she-her)" userId="66e9cce0-e37b-4645-a907-f7690bd68dfb" providerId="ADAL" clId="{A3599A74-B049-44EE-8670-DE420CF3148A}" dt="2024-10-18T14:25:14.272" v="4975"/>
          <ac:spMkLst>
            <pc:docMk/>
            <pc:sldMk cId="2643018674" sldId="5164"/>
            <ac:spMk id="63" creationId="{DA5F4491-E61A-07F2-0208-60274B9E6707}"/>
          </ac:spMkLst>
        </pc:spChg>
        <pc:spChg chg="mod">
          <ac:chgData name="Jacob, Karen (SPAC/PSPC) (elle-la / she-her)" userId="66e9cce0-e37b-4645-a907-f7690bd68dfb" providerId="ADAL" clId="{A3599A74-B049-44EE-8670-DE420CF3148A}" dt="2024-10-18T14:25:14.272" v="4975"/>
          <ac:spMkLst>
            <pc:docMk/>
            <pc:sldMk cId="2643018674" sldId="5164"/>
            <ac:spMk id="64" creationId="{07095B1B-CF08-8CAF-A324-30985537A043}"/>
          </ac:spMkLst>
        </pc:spChg>
        <pc:spChg chg="mod">
          <ac:chgData name="Jacob, Karen (SPAC/PSPC) (elle-la / she-her)" userId="66e9cce0-e37b-4645-a907-f7690bd68dfb" providerId="ADAL" clId="{A3599A74-B049-44EE-8670-DE420CF3148A}" dt="2024-10-18T14:25:14.272" v="4975"/>
          <ac:spMkLst>
            <pc:docMk/>
            <pc:sldMk cId="2643018674" sldId="5164"/>
            <ac:spMk id="65" creationId="{63DCCFF5-A839-38FB-1D37-132A92D472C1}"/>
          </ac:spMkLst>
        </pc:spChg>
        <pc:spChg chg="mod">
          <ac:chgData name="Jacob, Karen (SPAC/PSPC) (elle-la / she-her)" userId="66e9cce0-e37b-4645-a907-f7690bd68dfb" providerId="ADAL" clId="{A3599A74-B049-44EE-8670-DE420CF3148A}" dt="2024-10-18T14:25:14.272" v="4975"/>
          <ac:spMkLst>
            <pc:docMk/>
            <pc:sldMk cId="2643018674" sldId="5164"/>
            <ac:spMk id="66" creationId="{244FED0A-5548-C9BD-83C4-8A71A61A4405}"/>
          </ac:spMkLst>
        </pc:spChg>
        <pc:spChg chg="mod">
          <ac:chgData name="Jacob, Karen (SPAC/PSPC) (elle-la / she-her)" userId="66e9cce0-e37b-4645-a907-f7690bd68dfb" providerId="ADAL" clId="{A3599A74-B049-44EE-8670-DE420CF3148A}" dt="2024-10-18T14:25:14.272" v="4975"/>
          <ac:spMkLst>
            <pc:docMk/>
            <pc:sldMk cId="2643018674" sldId="5164"/>
            <ac:spMk id="67" creationId="{B1258444-2B11-A1B0-2A18-A67A25E28034}"/>
          </ac:spMkLst>
        </pc:spChg>
        <pc:spChg chg="mod">
          <ac:chgData name="Jacob, Karen (SPAC/PSPC) (elle-la / she-her)" userId="66e9cce0-e37b-4645-a907-f7690bd68dfb" providerId="ADAL" clId="{A3599A74-B049-44EE-8670-DE420CF3148A}" dt="2024-10-18T14:25:14.272" v="4975"/>
          <ac:spMkLst>
            <pc:docMk/>
            <pc:sldMk cId="2643018674" sldId="5164"/>
            <ac:spMk id="68" creationId="{AF06FDE0-3596-1A96-94A8-B82FAFB78ACC}"/>
          </ac:spMkLst>
        </pc:spChg>
        <pc:spChg chg="mod">
          <ac:chgData name="Jacob, Karen (SPAC/PSPC) (elle-la / she-her)" userId="66e9cce0-e37b-4645-a907-f7690bd68dfb" providerId="ADAL" clId="{A3599A74-B049-44EE-8670-DE420CF3148A}" dt="2024-10-18T14:25:35.257" v="4980" actId="14100"/>
          <ac:spMkLst>
            <pc:docMk/>
            <pc:sldMk cId="2643018674" sldId="5164"/>
            <ac:spMk id="69" creationId="{F4A13062-53F2-6F84-B496-2634DB2E87AF}"/>
          </ac:spMkLst>
        </pc:spChg>
        <pc:spChg chg="add mod">
          <ac:chgData name="Jacob, Karen (SPAC/PSPC) (elle-la / she-her)" userId="66e9cce0-e37b-4645-a907-f7690bd68dfb" providerId="ADAL" clId="{A3599A74-B049-44EE-8670-DE420CF3148A}" dt="2024-10-18T14:51:21.611" v="5465" actId="1035"/>
          <ac:spMkLst>
            <pc:docMk/>
            <pc:sldMk cId="2643018674" sldId="5164"/>
            <ac:spMk id="70" creationId="{48FE0CE4-8128-A030-4177-E94AA3CC9B94}"/>
          </ac:spMkLst>
        </pc:spChg>
        <pc:spChg chg="add mod ord">
          <ac:chgData name="Jacob, Karen (SPAC/PSPC) (elle-la / she-her)" userId="66e9cce0-e37b-4645-a907-f7690bd68dfb" providerId="ADAL" clId="{A3599A74-B049-44EE-8670-DE420CF3148A}" dt="2024-10-18T14:45:34.203" v="5346" actId="167"/>
          <ac:spMkLst>
            <pc:docMk/>
            <pc:sldMk cId="2643018674" sldId="5164"/>
            <ac:spMk id="71" creationId="{7028C89E-7266-12B8-5E10-8C399FCFA7CF}"/>
          </ac:spMkLst>
        </pc:spChg>
        <pc:grpChg chg="add del mod">
          <ac:chgData name="Jacob, Karen (SPAC/PSPC) (elle-la / she-her)" userId="66e9cce0-e37b-4645-a907-f7690bd68dfb" providerId="ADAL" clId="{A3599A74-B049-44EE-8670-DE420CF3148A}" dt="2024-10-18T14:25:28.845" v="4979" actId="478"/>
          <ac:grpSpMkLst>
            <pc:docMk/>
            <pc:sldMk cId="2643018674" sldId="5164"/>
            <ac:grpSpMk id="13" creationId="{722AAF86-BCBD-ABDE-792E-9ABE8D148382}"/>
          </ac:grpSpMkLst>
        </pc:grpChg>
        <pc:grpChg chg="mod topLvl">
          <ac:chgData name="Jacob, Karen (SPAC/PSPC) (elle-la / she-her)" userId="66e9cce0-e37b-4645-a907-f7690bd68dfb" providerId="ADAL" clId="{A3599A74-B049-44EE-8670-DE420CF3148A}" dt="2024-10-18T14:51:21.611" v="5465" actId="1035"/>
          <ac:grpSpMkLst>
            <pc:docMk/>
            <pc:sldMk cId="2643018674" sldId="5164"/>
            <ac:grpSpMk id="15" creationId="{8DA5BD1B-687F-A8E9-DD81-60E314CBA84F}"/>
          </ac:grpSpMkLst>
        </pc:grpChg>
        <pc:grpChg chg="del mod">
          <ac:chgData name="Jacob, Karen (SPAC/PSPC) (elle-la / she-her)" userId="66e9cce0-e37b-4645-a907-f7690bd68dfb" providerId="ADAL" clId="{A3599A74-B049-44EE-8670-DE420CF3148A}" dt="2024-10-18T14:25:22.195" v="4977" actId="478"/>
          <ac:grpSpMkLst>
            <pc:docMk/>
            <pc:sldMk cId="2643018674" sldId="5164"/>
            <ac:grpSpMk id="16" creationId="{754B4378-81FD-53DB-4CF1-9B571CDE24A3}"/>
          </ac:grpSpMkLst>
        </pc:grpChg>
        <pc:grpChg chg="mod">
          <ac:chgData name="Jacob, Karen (SPAC/PSPC) (elle-la / she-her)" userId="66e9cce0-e37b-4645-a907-f7690bd68dfb" providerId="ADAL" clId="{A3599A74-B049-44EE-8670-DE420CF3148A}" dt="2024-10-18T14:25:14.272" v="4975"/>
          <ac:grpSpMkLst>
            <pc:docMk/>
            <pc:sldMk cId="2643018674" sldId="5164"/>
            <ac:grpSpMk id="20" creationId="{54E522D1-3F15-F04A-701F-5DBD60C54904}"/>
          </ac:grpSpMkLst>
        </pc:grpChg>
        <pc:grpChg chg="mod">
          <ac:chgData name="Jacob, Karen (SPAC/PSPC) (elle-la / she-her)" userId="66e9cce0-e37b-4645-a907-f7690bd68dfb" providerId="ADAL" clId="{A3599A74-B049-44EE-8670-DE420CF3148A}" dt="2024-10-18T14:25:14.272" v="4975"/>
          <ac:grpSpMkLst>
            <pc:docMk/>
            <pc:sldMk cId="2643018674" sldId="5164"/>
            <ac:grpSpMk id="23" creationId="{B8E6D17F-0D88-177F-E5AD-B28E2F12C9BC}"/>
          </ac:grpSpMkLst>
        </pc:grpChg>
        <pc:grpChg chg="mod">
          <ac:chgData name="Jacob, Karen (SPAC/PSPC) (elle-la / she-her)" userId="66e9cce0-e37b-4645-a907-f7690bd68dfb" providerId="ADAL" clId="{A3599A74-B049-44EE-8670-DE420CF3148A}" dt="2024-10-18T14:25:14.272" v="4975"/>
          <ac:grpSpMkLst>
            <pc:docMk/>
            <pc:sldMk cId="2643018674" sldId="5164"/>
            <ac:grpSpMk id="26" creationId="{FCB437F6-4474-3C14-9F73-750B80249742}"/>
          </ac:grpSpMkLst>
        </pc:grpChg>
        <pc:picChg chg="mod">
          <ac:chgData name="Jacob, Karen (SPAC/PSPC) (elle-la / she-her)" userId="66e9cce0-e37b-4645-a907-f7690bd68dfb" providerId="ADAL" clId="{A3599A74-B049-44EE-8670-DE420CF3148A}" dt="2024-10-18T14:25:14.272" v="4975"/>
          <ac:picMkLst>
            <pc:docMk/>
            <pc:sldMk cId="2643018674" sldId="5164"/>
            <ac:picMk id="21" creationId="{6B2FB0C5-D6D6-09C9-323E-524BDA1F9AE2}"/>
          </ac:picMkLst>
        </pc:pic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A3599A74-B049-44EE-8670-DE420CF3148A}" dt="2024-10-30T19:19:47.685" v="19531" actId="313"/>
              <pc2:cmMkLst xmlns:pc2="http://schemas.microsoft.com/office/powerpoint/2019/9/main/command">
                <pc:docMk/>
                <pc:sldMk cId="2643018674" sldId="5164"/>
                <pc2:cmMk id="{7F132811-33D1-4F42-BA40-C42C7B67BD9D}"/>
              </pc2:cmMkLst>
              <pc226:cmRplyChg chg="add mod">
                <pc226:chgData name="Jacob, Karen (SPAC/PSPC) (elle-la / she-her)" userId="66e9cce0-e37b-4645-a907-f7690bd68dfb" providerId="ADAL" clId="{A3599A74-B049-44EE-8670-DE420CF3148A}" dt="2024-10-23T19:19:04.528" v="11575"/>
                <pc2:cmRplyMkLst xmlns:pc2="http://schemas.microsoft.com/office/powerpoint/2019/9/main/command">
                  <pc:docMk/>
                  <pc:sldMk cId="2643018674" sldId="5164"/>
                  <pc2:cmMk id="{7F132811-33D1-4F42-BA40-C42C7B67BD9D}"/>
                  <pc2:cmRplyMk id="{5F67F788-276F-4B80-B272-BF70D163452A}"/>
                </pc2:cmRplyMkLst>
              </pc226:cmRplyChg>
            </pc226:cmChg>
          </p:ext>
        </pc:extLst>
      </pc:sldChg>
      <pc:sldChg chg="add del">
        <pc:chgData name="Jacob, Karen (SPAC/PSPC) (elle-la / she-her)" userId="66e9cce0-e37b-4645-a907-f7690bd68dfb" providerId="ADAL" clId="{A3599A74-B049-44EE-8670-DE420CF3148A}" dt="2024-10-18T14:02:48.322" v="4835" actId="47"/>
        <pc:sldMkLst>
          <pc:docMk/>
          <pc:sldMk cId="2356740885" sldId="5165"/>
        </pc:sldMkLst>
      </pc:sldChg>
      <pc:sldChg chg="addSp delSp modSp add mod">
        <pc:chgData name="Jacob, Karen (SPAC/PSPC) (elle-la / she-her)" userId="66e9cce0-e37b-4645-a907-f7690bd68dfb" providerId="ADAL" clId="{A3599A74-B049-44EE-8670-DE420CF3148A}" dt="2024-10-18T18:25:02.190" v="7890" actId="1076"/>
        <pc:sldMkLst>
          <pc:docMk/>
          <pc:sldMk cId="951449358" sldId="5166"/>
        </pc:sldMkLst>
        <pc:spChg chg="mod">
          <ac:chgData name="Jacob, Karen (SPAC/PSPC) (elle-la / she-her)" userId="66e9cce0-e37b-4645-a907-f7690bd68dfb" providerId="ADAL" clId="{A3599A74-B049-44EE-8670-DE420CF3148A}" dt="2024-10-18T18:25:02.190" v="7890" actId="1076"/>
          <ac:spMkLst>
            <pc:docMk/>
            <pc:sldMk cId="951449358" sldId="5166"/>
            <ac:spMk id="3" creationId="{41BE6B50-88EB-D2A5-67D3-AD36A9027E26}"/>
          </ac:spMkLst>
        </pc:spChg>
        <pc:spChg chg="del">
          <ac:chgData name="Jacob, Karen (SPAC/PSPC) (elle-la / she-her)" userId="66e9cce0-e37b-4645-a907-f7690bd68dfb" providerId="ADAL" clId="{A3599A74-B049-44EE-8670-DE420CF3148A}" dt="2024-10-18T14:44:25.950" v="5317" actId="478"/>
          <ac:spMkLst>
            <pc:docMk/>
            <pc:sldMk cId="951449358" sldId="5166"/>
            <ac:spMk id="4" creationId="{630D77A7-4E8E-7081-F0AC-4F3053A49FAC}"/>
          </ac:spMkLst>
        </pc:spChg>
        <pc:spChg chg="del">
          <ac:chgData name="Jacob, Karen (SPAC/PSPC) (elle-la / she-her)" userId="66e9cce0-e37b-4645-a907-f7690bd68dfb" providerId="ADAL" clId="{A3599A74-B049-44EE-8670-DE420CF3148A}" dt="2024-10-18T12:39:57.387" v="4253" actId="478"/>
          <ac:spMkLst>
            <pc:docMk/>
            <pc:sldMk cId="951449358" sldId="5166"/>
            <ac:spMk id="5" creationId="{D0DACE9A-1229-9EEE-A180-51B071D4E977}"/>
          </ac:spMkLst>
        </pc:spChg>
        <pc:spChg chg="mod">
          <ac:chgData name="Jacob, Karen (SPAC/PSPC) (elle-la / she-her)" userId="66e9cce0-e37b-4645-a907-f7690bd68dfb" providerId="ADAL" clId="{A3599A74-B049-44EE-8670-DE420CF3148A}" dt="2024-10-18T14:44:53.247" v="5338" actId="1035"/>
          <ac:spMkLst>
            <pc:docMk/>
            <pc:sldMk cId="951449358" sldId="5166"/>
            <ac:spMk id="7" creationId="{DF1B54B1-FDC7-272E-ACD2-429233288AAA}"/>
          </ac:spMkLst>
        </pc:spChg>
        <pc:spChg chg="mod">
          <ac:chgData name="Jacob, Karen (SPAC/PSPC) (elle-la / she-her)" userId="66e9cce0-e37b-4645-a907-f7690bd68dfb" providerId="ADAL" clId="{A3599A74-B049-44EE-8670-DE420CF3148A}" dt="2024-10-18T14:44:53.247" v="5338" actId="1035"/>
          <ac:spMkLst>
            <pc:docMk/>
            <pc:sldMk cId="951449358" sldId="5166"/>
            <ac:spMk id="8" creationId="{33327C22-3B62-383E-8C0F-5910728BA2F8}"/>
          </ac:spMkLst>
        </pc:spChg>
        <pc:spChg chg="mod">
          <ac:chgData name="Jacob, Karen (SPAC/PSPC) (elle-la / she-her)" userId="66e9cce0-e37b-4645-a907-f7690bd68dfb" providerId="ADAL" clId="{A3599A74-B049-44EE-8670-DE420CF3148A}" dt="2024-10-18T14:44:53.247" v="5338" actId="1035"/>
          <ac:spMkLst>
            <pc:docMk/>
            <pc:sldMk cId="951449358" sldId="5166"/>
            <ac:spMk id="9" creationId="{BEF3A216-9A22-0368-8CF4-1C7173CCA6B6}"/>
          </ac:spMkLst>
        </pc:spChg>
        <pc:spChg chg="mod">
          <ac:chgData name="Jacob, Karen (SPAC/PSPC) (elle-la / she-her)" userId="66e9cce0-e37b-4645-a907-f7690bd68dfb" providerId="ADAL" clId="{A3599A74-B049-44EE-8670-DE420CF3148A}" dt="2024-10-18T14:44:53.247" v="5338" actId="1035"/>
          <ac:spMkLst>
            <pc:docMk/>
            <pc:sldMk cId="951449358" sldId="5166"/>
            <ac:spMk id="10" creationId="{924FC582-7982-B973-AF78-F42BE18EFCE6}"/>
          </ac:spMkLst>
        </pc:spChg>
        <pc:spChg chg="mod">
          <ac:chgData name="Jacob, Karen (SPAC/PSPC) (elle-la / she-her)" userId="66e9cce0-e37b-4645-a907-f7690bd68dfb" providerId="ADAL" clId="{A3599A74-B049-44EE-8670-DE420CF3148A}" dt="2024-10-18T14:44:53.247" v="5338" actId="1035"/>
          <ac:spMkLst>
            <pc:docMk/>
            <pc:sldMk cId="951449358" sldId="5166"/>
            <ac:spMk id="11" creationId="{7FAB6D7A-2579-7F4E-E1F9-1C892DC4A1AB}"/>
          </ac:spMkLst>
        </pc:spChg>
        <pc:spChg chg="add mod">
          <ac:chgData name="Jacob, Karen (SPAC/PSPC) (elle-la / she-her)" userId="66e9cce0-e37b-4645-a907-f7690bd68dfb" providerId="ADAL" clId="{A3599A74-B049-44EE-8670-DE420CF3148A}" dt="2024-10-18T14:44:53.247" v="5338" actId="1035"/>
          <ac:spMkLst>
            <pc:docMk/>
            <pc:sldMk cId="951449358" sldId="5166"/>
            <ac:spMk id="12" creationId="{B5E05B46-CF1C-10E8-CF27-43FD5B4CD2B6}"/>
          </ac:spMkLst>
        </pc:spChg>
        <pc:spChg chg="add mod">
          <ac:chgData name="Jacob, Karen (SPAC/PSPC) (elle-la / she-her)" userId="66e9cce0-e37b-4645-a907-f7690bd68dfb" providerId="ADAL" clId="{A3599A74-B049-44EE-8670-DE420CF3148A}" dt="2024-10-18T14:51:40.700" v="5467" actId="790"/>
          <ac:spMkLst>
            <pc:docMk/>
            <pc:sldMk cId="951449358" sldId="5166"/>
            <ac:spMk id="13" creationId="{24D3B48C-3E45-5072-0313-084DCF56D01C}"/>
          </ac:spMkLst>
        </pc:spChg>
        <pc:spChg chg="add mod">
          <ac:chgData name="Jacob, Karen (SPAC/PSPC) (elle-la / she-her)" userId="66e9cce0-e37b-4645-a907-f7690bd68dfb" providerId="ADAL" clId="{A3599A74-B049-44EE-8670-DE420CF3148A}" dt="2024-10-18T14:44:53.247" v="5338" actId="1035"/>
          <ac:spMkLst>
            <pc:docMk/>
            <pc:sldMk cId="951449358" sldId="5166"/>
            <ac:spMk id="14" creationId="{D8AE10C8-3898-213E-7C33-47F8EE2CB0CA}"/>
          </ac:spMkLst>
        </pc:spChg>
        <pc:spChg chg="add mod">
          <ac:chgData name="Jacob, Karen (SPAC/PSPC) (elle-la / she-her)" userId="66e9cce0-e37b-4645-a907-f7690bd68dfb" providerId="ADAL" clId="{A3599A74-B049-44EE-8670-DE420CF3148A}" dt="2024-10-18T14:44:53.247" v="5338" actId="1035"/>
          <ac:spMkLst>
            <pc:docMk/>
            <pc:sldMk cId="951449358" sldId="5166"/>
            <ac:spMk id="15" creationId="{250D293B-CD7C-D21D-0290-87DD62438189}"/>
          </ac:spMkLst>
        </pc:spChg>
        <pc:spChg chg="add mod">
          <ac:chgData name="Jacob, Karen (SPAC/PSPC) (elle-la / she-her)" userId="66e9cce0-e37b-4645-a907-f7690bd68dfb" providerId="ADAL" clId="{A3599A74-B049-44EE-8670-DE420CF3148A}" dt="2024-10-18T14:44:53.247" v="5338" actId="1035"/>
          <ac:spMkLst>
            <pc:docMk/>
            <pc:sldMk cId="951449358" sldId="5166"/>
            <ac:spMk id="16" creationId="{491B984F-4AFE-70B5-52DF-3AC5E21CC468}"/>
          </ac:spMkLst>
        </pc:spChg>
        <pc:spChg chg="add mod">
          <ac:chgData name="Jacob, Karen (SPAC/PSPC) (elle-la / she-her)" userId="66e9cce0-e37b-4645-a907-f7690bd68dfb" providerId="ADAL" clId="{A3599A74-B049-44EE-8670-DE420CF3148A}" dt="2024-10-18T14:44:53.247" v="5338" actId="1035"/>
          <ac:spMkLst>
            <pc:docMk/>
            <pc:sldMk cId="951449358" sldId="5166"/>
            <ac:spMk id="19" creationId="{F04B82CF-8286-8190-4CBE-7BDA4BB27B00}"/>
          </ac:spMkLst>
        </pc:spChg>
        <pc:spChg chg="mod">
          <ac:chgData name="Jacob, Karen (SPAC/PSPC) (elle-la / she-her)" userId="66e9cce0-e37b-4645-a907-f7690bd68dfb" providerId="ADAL" clId="{A3599A74-B049-44EE-8670-DE420CF3148A}" dt="2024-10-18T14:44:53.247" v="5338" actId="1035"/>
          <ac:spMkLst>
            <pc:docMk/>
            <pc:sldMk cId="951449358" sldId="5166"/>
            <ac:spMk id="21" creationId="{F9A80AC9-F28F-76B1-5684-C481593D7723}"/>
          </ac:spMkLst>
        </pc:spChg>
        <pc:spChg chg="mod">
          <ac:chgData name="Jacob, Karen (SPAC/PSPC) (elle-la / she-her)" userId="66e9cce0-e37b-4645-a907-f7690bd68dfb" providerId="ADAL" clId="{A3599A74-B049-44EE-8670-DE420CF3148A}" dt="2024-10-18T14:44:53.247" v="5338" actId="1035"/>
          <ac:spMkLst>
            <pc:docMk/>
            <pc:sldMk cId="951449358" sldId="5166"/>
            <ac:spMk id="22" creationId="{89B21B3A-D85A-B8C7-48F8-3CA73E7C2320}"/>
          </ac:spMkLst>
        </pc:spChg>
        <pc:spChg chg="mod">
          <ac:chgData name="Jacob, Karen (SPAC/PSPC) (elle-la / she-her)" userId="66e9cce0-e37b-4645-a907-f7690bd68dfb" providerId="ADAL" clId="{A3599A74-B049-44EE-8670-DE420CF3148A}" dt="2024-10-18T14:44:53.247" v="5338" actId="1035"/>
          <ac:spMkLst>
            <pc:docMk/>
            <pc:sldMk cId="951449358" sldId="5166"/>
            <ac:spMk id="23" creationId="{4EDF1A38-1D91-82B4-3822-2C10FFC49D78}"/>
          </ac:spMkLst>
        </pc:spChg>
        <pc:spChg chg="mod">
          <ac:chgData name="Jacob, Karen (SPAC/PSPC) (elle-la / she-her)" userId="66e9cce0-e37b-4645-a907-f7690bd68dfb" providerId="ADAL" clId="{A3599A74-B049-44EE-8670-DE420CF3148A}" dt="2024-10-18T14:44:53.247" v="5338" actId="1035"/>
          <ac:spMkLst>
            <pc:docMk/>
            <pc:sldMk cId="951449358" sldId="5166"/>
            <ac:spMk id="24" creationId="{62B1A6BC-85B8-8455-E5E4-944980977CE0}"/>
          </ac:spMkLst>
        </pc:spChg>
        <pc:spChg chg="mod">
          <ac:chgData name="Jacob, Karen (SPAC/PSPC) (elle-la / she-her)" userId="66e9cce0-e37b-4645-a907-f7690bd68dfb" providerId="ADAL" clId="{A3599A74-B049-44EE-8670-DE420CF3148A}" dt="2024-10-18T14:44:53.247" v="5338" actId="1035"/>
          <ac:spMkLst>
            <pc:docMk/>
            <pc:sldMk cId="951449358" sldId="5166"/>
            <ac:spMk id="25" creationId="{4C6558A7-8461-4B90-34AF-9C2C38721B9B}"/>
          </ac:spMkLst>
        </pc:spChg>
        <pc:spChg chg="add mod">
          <ac:chgData name="Jacob, Karen (SPAC/PSPC) (elle-la / she-her)" userId="66e9cce0-e37b-4645-a907-f7690bd68dfb" providerId="ADAL" clId="{A3599A74-B049-44EE-8670-DE420CF3148A}" dt="2024-10-18T14:44:53.247" v="5338" actId="1035"/>
          <ac:spMkLst>
            <pc:docMk/>
            <pc:sldMk cId="951449358" sldId="5166"/>
            <ac:spMk id="26" creationId="{3EB05C5D-2B3E-2DE3-4C8F-BD63A7AFA07B}"/>
          </ac:spMkLst>
        </pc:spChg>
        <pc:spChg chg="add mod">
          <ac:chgData name="Jacob, Karen (SPAC/PSPC) (elle-la / she-her)" userId="66e9cce0-e37b-4645-a907-f7690bd68dfb" providerId="ADAL" clId="{A3599A74-B049-44EE-8670-DE420CF3148A}" dt="2024-10-18T14:51:46.283" v="5468" actId="790"/>
          <ac:spMkLst>
            <pc:docMk/>
            <pc:sldMk cId="951449358" sldId="5166"/>
            <ac:spMk id="27" creationId="{57DEDA11-4574-71ED-2E61-C7774C243B21}"/>
          </ac:spMkLst>
        </pc:spChg>
        <pc:spChg chg="add mod">
          <ac:chgData name="Jacob, Karen (SPAC/PSPC) (elle-la / she-her)" userId="66e9cce0-e37b-4645-a907-f7690bd68dfb" providerId="ADAL" clId="{A3599A74-B049-44EE-8670-DE420CF3148A}" dt="2024-10-18T14:44:53.247" v="5338" actId="1035"/>
          <ac:spMkLst>
            <pc:docMk/>
            <pc:sldMk cId="951449358" sldId="5166"/>
            <ac:spMk id="28" creationId="{59447730-6FE7-EC4E-D82B-4CDD47E25598}"/>
          </ac:spMkLst>
        </pc:spChg>
        <pc:spChg chg="add mod">
          <ac:chgData name="Jacob, Karen (SPAC/PSPC) (elle-la / she-her)" userId="66e9cce0-e37b-4645-a907-f7690bd68dfb" providerId="ADAL" clId="{A3599A74-B049-44EE-8670-DE420CF3148A}" dt="2024-10-18T14:44:53.247" v="5338" actId="1035"/>
          <ac:spMkLst>
            <pc:docMk/>
            <pc:sldMk cId="951449358" sldId="5166"/>
            <ac:spMk id="29" creationId="{553F35BF-1795-942C-7210-1F70701F738A}"/>
          </ac:spMkLst>
        </pc:spChg>
        <pc:spChg chg="add mod">
          <ac:chgData name="Jacob, Karen (SPAC/PSPC) (elle-la / she-her)" userId="66e9cce0-e37b-4645-a907-f7690bd68dfb" providerId="ADAL" clId="{A3599A74-B049-44EE-8670-DE420CF3148A}" dt="2024-10-18T14:44:53.247" v="5338" actId="1035"/>
          <ac:spMkLst>
            <pc:docMk/>
            <pc:sldMk cId="951449358" sldId="5166"/>
            <ac:spMk id="30" creationId="{CF803FF0-F5AD-09EE-E848-7158D9ECA15B}"/>
          </ac:spMkLst>
        </pc:spChg>
        <pc:spChg chg="add mod">
          <ac:chgData name="Jacob, Karen (SPAC/PSPC) (elle-la / she-her)" userId="66e9cce0-e37b-4645-a907-f7690bd68dfb" providerId="ADAL" clId="{A3599A74-B049-44EE-8670-DE420CF3148A}" dt="2024-10-18T14:44:53.247" v="5338" actId="1035"/>
          <ac:spMkLst>
            <pc:docMk/>
            <pc:sldMk cId="951449358" sldId="5166"/>
            <ac:spMk id="37" creationId="{04E6FCF7-DB94-8921-A44C-934B7E940C36}"/>
          </ac:spMkLst>
        </pc:spChg>
        <pc:spChg chg="add mod ord">
          <ac:chgData name="Jacob, Karen (SPAC/PSPC) (elle-la / she-her)" userId="66e9cce0-e37b-4645-a907-f7690bd68dfb" providerId="ADAL" clId="{A3599A74-B049-44EE-8670-DE420CF3148A}" dt="2024-10-18T14:44:33.348" v="5319" actId="167"/>
          <ac:spMkLst>
            <pc:docMk/>
            <pc:sldMk cId="951449358" sldId="5166"/>
            <ac:spMk id="38" creationId="{E109C5DE-2F60-F210-2203-131E1C4A07EF}"/>
          </ac:spMkLst>
        </pc:spChg>
        <pc:grpChg chg="add mod">
          <ac:chgData name="Jacob, Karen (SPAC/PSPC) (elle-la / she-her)" userId="66e9cce0-e37b-4645-a907-f7690bd68dfb" providerId="ADAL" clId="{A3599A74-B049-44EE-8670-DE420CF3148A}" dt="2024-10-18T14:44:53.247" v="5338" actId="1035"/>
          <ac:grpSpMkLst>
            <pc:docMk/>
            <pc:sldMk cId="951449358" sldId="5166"/>
            <ac:grpSpMk id="6" creationId="{836673FF-D0BB-C36D-C2D5-F3A93BF20D2F}"/>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20" creationId="{DCF7A223-1B46-DCE0-C185-178B672ADE30}"/>
          </ac:grpSpMkLst>
        </pc:grpChg>
        <pc:grpChg chg="add mod">
          <ac:chgData name="Jacob, Karen (SPAC/PSPC) (elle-la / she-her)" userId="66e9cce0-e37b-4645-a907-f7690bd68dfb" providerId="ADAL" clId="{A3599A74-B049-44EE-8670-DE420CF3148A}" dt="2024-10-18T14:44:53.247" v="5338" actId="1035"/>
          <ac:grpSpMkLst>
            <pc:docMk/>
            <pc:sldMk cId="951449358" sldId="5166"/>
            <ac:grpSpMk id="33" creationId="{769F25D5-0ACE-A2D5-150F-32E72CA3FC17}"/>
          </ac:grpSpMkLst>
        </pc:grpChg>
        <pc:picChg chg="add mod">
          <ac:chgData name="Jacob, Karen (SPAC/PSPC) (elle-la / she-her)" userId="66e9cce0-e37b-4645-a907-f7690bd68dfb" providerId="ADAL" clId="{A3599A74-B049-44EE-8670-DE420CF3148A}" dt="2024-10-18T14:44:53.247" v="5338" actId="1035"/>
          <ac:picMkLst>
            <pc:docMk/>
            <pc:sldMk cId="951449358" sldId="5166"/>
            <ac:picMk id="17" creationId="{275EB9EA-242E-E32A-7DF8-E542F80E1164}"/>
          </ac:picMkLst>
        </pc:picChg>
        <pc:picChg chg="add mod">
          <ac:chgData name="Jacob, Karen (SPAC/PSPC) (elle-la / she-her)" userId="66e9cce0-e37b-4645-a907-f7690bd68dfb" providerId="ADAL" clId="{A3599A74-B049-44EE-8670-DE420CF3148A}" dt="2024-10-18T14:44:53.247" v="5338" actId="1035"/>
          <ac:picMkLst>
            <pc:docMk/>
            <pc:sldMk cId="951449358" sldId="5166"/>
            <ac:picMk id="18" creationId="{82BBBD58-FA6F-6EC8-AECE-391F7F6F74D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1" creationId="{584F3591-1389-AFE2-9988-630538612733}"/>
          </ac:picMkLst>
        </pc:picChg>
        <pc:picChg chg="add mod">
          <ac:chgData name="Jacob, Karen (SPAC/PSPC) (elle-la / she-her)" userId="66e9cce0-e37b-4645-a907-f7690bd68dfb" providerId="ADAL" clId="{A3599A74-B049-44EE-8670-DE420CF3148A}" dt="2024-10-18T14:44:53.247" v="5338" actId="1035"/>
          <ac:picMkLst>
            <pc:docMk/>
            <pc:sldMk cId="951449358" sldId="5166"/>
            <ac:picMk id="32" creationId="{FDF20F69-3197-FD5C-05EB-9E1AC0557767}"/>
          </ac:picMkLst>
        </pc:picChg>
        <pc:picChg chg="mod">
          <ac:chgData name="Jacob, Karen (SPAC/PSPC) (elle-la / she-her)" userId="66e9cce0-e37b-4645-a907-f7690bd68dfb" providerId="ADAL" clId="{A3599A74-B049-44EE-8670-DE420CF3148A}" dt="2024-10-18T14:44:53.247" v="5338" actId="1035"/>
          <ac:picMkLst>
            <pc:docMk/>
            <pc:sldMk cId="951449358" sldId="5166"/>
            <ac:picMk id="34" creationId="{2FB48BB1-72DE-06A6-56B2-FC23EFB14F8B}"/>
          </ac:picMkLst>
        </pc:picChg>
        <pc:picChg chg="mod">
          <ac:chgData name="Jacob, Karen (SPAC/PSPC) (elle-la / she-her)" userId="66e9cce0-e37b-4645-a907-f7690bd68dfb" providerId="ADAL" clId="{A3599A74-B049-44EE-8670-DE420CF3148A}" dt="2024-10-18T14:44:53.247" v="5338" actId="1035"/>
          <ac:picMkLst>
            <pc:docMk/>
            <pc:sldMk cId="951449358" sldId="5166"/>
            <ac:picMk id="35" creationId="{BBD661EF-B16E-1F8E-F7B2-08A14C470C0E}"/>
          </ac:picMkLst>
        </pc:picChg>
        <pc:picChg chg="mod">
          <ac:chgData name="Jacob, Karen (SPAC/PSPC) (elle-la / she-her)" userId="66e9cce0-e37b-4645-a907-f7690bd68dfb" providerId="ADAL" clId="{A3599A74-B049-44EE-8670-DE420CF3148A}" dt="2024-10-18T14:44:53.247" v="5338" actId="1035"/>
          <ac:picMkLst>
            <pc:docMk/>
            <pc:sldMk cId="951449358" sldId="5166"/>
            <ac:picMk id="36" creationId="{ED75FF99-3DF7-84E0-7B5B-4EFCB272051C}"/>
          </ac:picMkLst>
        </pc:picChg>
      </pc:sldChg>
      <pc:sldChg chg="addSp delSp modSp add mod ord delCm modCm">
        <pc:chgData name="Jacob, Karen (SPAC/PSPC) (elle-la / she-her)" userId="66e9cce0-e37b-4645-a907-f7690bd68dfb" providerId="ADAL" clId="{A3599A74-B049-44EE-8670-DE420CF3148A}" dt="2024-10-30T19:40:49.199" v="20505"/>
        <pc:sldMkLst>
          <pc:docMk/>
          <pc:sldMk cId="2106271575" sldId="5167"/>
        </pc:sldMkLst>
        <pc:spChg chg="mod">
          <ac:chgData name="Jacob, Karen (SPAC/PSPC) (elle-la / she-her)" userId="66e9cce0-e37b-4645-a907-f7690bd68dfb" providerId="ADAL" clId="{A3599A74-B049-44EE-8670-DE420CF3148A}" dt="2024-10-30T19:40:44.188" v="20504" actId="20577"/>
          <ac:spMkLst>
            <pc:docMk/>
            <pc:sldMk cId="2106271575" sldId="5167"/>
            <ac:spMk id="4" creationId="{6E84A27E-2844-316E-6672-1236545BDBDC}"/>
          </ac:spMkLst>
        </pc:spChg>
        <pc:spChg chg="add mod">
          <ac:chgData name="Jacob, Karen (SPAC/PSPC) (elle-la / she-her)" userId="66e9cce0-e37b-4645-a907-f7690bd68dfb" providerId="ADAL" clId="{A3599A74-B049-44EE-8670-DE420CF3148A}" dt="2024-10-24T18:13:52.423" v="19427"/>
          <ac:spMkLst>
            <pc:docMk/>
            <pc:sldMk cId="2106271575" sldId="5167"/>
            <ac:spMk id="7" creationId="{35341F70-17E8-89A5-84EF-DA67A9FDF4D9}"/>
          </ac:spMkLst>
        </pc:spChg>
        <pc:spChg chg="add del mod">
          <ac:chgData name="Jacob, Karen (SPAC/PSPC) (elle-la / she-her)" userId="66e9cce0-e37b-4645-a907-f7690bd68dfb" providerId="ADAL" clId="{A3599A74-B049-44EE-8670-DE420CF3148A}" dt="2024-10-24T18:14:04.144" v="19430" actId="21"/>
          <ac:spMkLst>
            <pc:docMk/>
            <pc:sldMk cId="2106271575" sldId="5167"/>
            <ac:spMk id="8" creationId="{9E7EA0FB-96DA-D309-DAD0-3AA33FFD40BB}"/>
          </ac:spMkLst>
        </pc:spChg>
        <pc:spChg chg="add del mod">
          <ac:chgData name="Jacob, Karen (SPAC/PSPC) (elle-la / she-her)" userId="66e9cce0-e37b-4645-a907-f7690bd68dfb" providerId="ADAL" clId="{A3599A74-B049-44EE-8670-DE420CF3148A}" dt="2024-10-24T18:13:59.088" v="19428" actId="478"/>
          <ac:spMkLst>
            <pc:docMk/>
            <pc:sldMk cId="2106271575" sldId="5167"/>
            <ac:spMk id="10" creationId="{B4568E66-FC29-A28B-9025-D3C456CD885A}"/>
          </ac:spMkLst>
        </pc:spChg>
        <pc:spChg chg="del mod">
          <ac:chgData name="Jacob, Karen (SPAC/PSPC) (elle-la / she-her)" userId="66e9cce0-e37b-4645-a907-f7690bd68dfb" providerId="ADAL" clId="{A3599A74-B049-44EE-8670-DE420CF3148A}" dt="2024-10-18T14:32:20.406" v="5119"/>
          <ac:spMkLst>
            <pc:docMk/>
            <pc:sldMk cId="2106271575" sldId="5167"/>
            <ac:spMk id="12" creationId="{49BC1508-1F65-AA39-033E-D60F15B261D2}"/>
          </ac:spMkLst>
        </pc:spChg>
        <pc:spChg chg="add mod">
          <ac:chgData name="Jacob, Karen (SPAC/PSPC) (elle-la / she-her)" userId="66e9cce0-e37b-4645-a907-f7690bd68dfb" providerId="ADAL" clId="{A3599A74-B049-44EE-8670-DE420CF3148A}" dt="2024-10-24T18:14:10.020" v="19432" actId="1076"/>
          <ac:spMkLst>
            <pc:docMk/>
            <pc:sldMk cId="2106271575" sldId="5167"/>
            <ac:spMk id="12" creationId="{9E7EA0FB-96DA-D309-DAD0-3AA33FFD40BB}"/>
          </ac:spMkLst>
        </pc:spChg>
        <pc:picChg chg="add del mod">
          <ac:chgData name="Jacob, Karen (SPAC/PSPC) (elle-la / she-her)" userId="66e9cce0-e37b-4645-a907-f7690bd68dfb" providerId="ADAL" clId="{A3599A74-B049-44EE-8670-DE420CF3148A}" dt="2024-10-24T18:14:04.144" v="19430" actId="21"/>
          <ac:picMkLst>
            <pc:docMk/>
            <pc:sldMk cId="2106271575" sldId="5167"/>
            <ac:picMk id="5" creationId="{34E26041-226E-BB54-F354-A606DDC5B170}"/>
          </ac:picMkLst>
        </pc:picChg>
        <pc:picChg chg="add mod">
          <ac:chgData name="Jacob, Karen (SPAC/PSPC) (elle-la / she-her)" userId="66e9cce0-e37b-4645-a907-f7690bd68dfb" providerId="ADAL" clId="{A3599A74-B049-44EE-8670-DE420CF3148A}" dt="2024-10-24T18:13:52.423" v="19427"/>
          <ac:picMkLst>
            <pc:docMk/>
            <pc:sldMk cId="2106271575" sldId="5167"/>
            <ac:picMk id="6" creationId="{ECCA0B59-DF14-4002-3BE9-97B46FAEC121}"/>
          </ac:picMkLst>
        </pc:picChg>
        <pc:picChg chg="add del mod">
          <ac:chgData name="Jacob, Karen (SPAC/PSPC) (elle-la / she-her)" userId="66e9cce0-e37b-4645-a907-f7690bd68dfb" providerId="ADAL" clId="{A3599A74-B049-44EE-8670-DE420CF3148A}" dt="2024-10-24T18:14:00.299" v="19429" actId="478"/>
          <ac:picMkLst>
            <pc:docMk/>
            <pc:sldMk cId="2106271575" sldId="5167"/>
            <ac:picMk id="9" creationId="{DEB7B42C-A574-AC10-6004-CA57F03F45A5}"/>
          </ac:picMkLst>
        </pc:picChg>
        <pc:picChg chg="add mod">
          <ac:chgData name="Jacob, Karen (SPAC/PSPC) (elle-la / she-her)" userId="66e9cce0-e37b-4645-a907-f7690bd68dfb" providerId="ADAL" clId="{A3599A74-B049-44EE-8670-DE420CF3148A}" dt="2024-10-24T18:14:10.020" v="19432" actId="1076"/>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A3599A74-B049-44EE-8670-DE420CF3148A}" dt="2024-10-30T19:40:49.199" v="20505"/>
              <pc2:cmMkLst xmlns:pc2="http://schemas.microsoft.com/office/powerpoint/2019/9/main/command">
                <pc:docMk/>
                <pc:sldMk cId="2106271575" sldId="5167"/>
                <pc2:cmMk id="{6A66DB58-6306-43CE-9B8B-A56F6AF56B94}"/>
              </pc2:cmMkLst>
            </pc226:cmChg>
          </p:ext>
        </pc:extLst>
      </pc:sldChg>
      <pc:sldChg chg="modSp add mod ord">
        <pc:chgData name="Jacob, Karen (SPAC/PSPC) (elle-la / she-her)" userId="66e9cce0-e37b-4645-a907-f7690bd68dfb" providerId="ADAL" clId="{A3599A74-B049-44EE-8670-DE420CF3148A}" dt="2024-10-30T19:40:20.488" v="20476" actId="20577"/>
        <pc:sldMkLst>
          <pc:docMk/>
          <pc:sldMk cId="3254786999" sldId="5168"/>
        </pc:sldMkLst>
        <pc:spChg chg="mod">
          <ac:chgData name="Jacob, Karen (SPAC/PSPC) (elle-la / she-her)" userId="66e9cce0-e37b-4645-a907-f7690bd68dfb" providerId="ADAL" clId="{A3599A74-B049-44EE-8670-DE420CF3148A}" dt="2024-10-30T19:40:20.488" v="20476" actId="20577"/>
          <ac:spMkLst>
            <pc:docMk/>
            <pc:sldMk cId="3254786999" sldId="5168"/>
            <ac:spMk id="12" creationId="{49BC1508-1F65-AA39-033E-D60F15B261D2}"/>
          </ac:spMkLst>
        </pc:spChg>
      </pc:sldChg>
      <pc:sldChg chg="new del">
        <pc:chgData name="Jacob, Karen (SPAC/PSPC) (elle-la / she-her)" userId="66e9cce0-e37b-4645-a907-f7690bd68dfb" providerId="ADAL" clId="{A3599A74-B049-44EE-8670-DE420CF3148A}" dt="2024-10-23T18:23:45.116" v="8062" actId="47"/>
        <pc:sldMkLst>
          <pc:docMk/>
          <pc:sldMk cId="1755429270" sldId="5169"/>
        </pc:sldMkLst>
      </pc:sldChg>
      <pc:sldChg chg="addSp delSp modSp new mod">
        <pc:chgData name="Jacob, Karen (SPAC/PSPC) (elle-la / she-her)" userId="66e9cce0-e37b-4645-a907-f7690bd68dfb" providerId="ADAL" clId="{A3599A74-B049-44EE-8670-DE420CF3148A}" dt="2024-10-30T19:31:36.586" v="19756" actId="207"/>
        <pc:sldMkLst>
          <pc:docMk/>
          <pc:sldMk cId="775145580" sldId="5170"/>
        </pc:sldMkLst>
        <pc:spChg chg="del">
          <ac:chgData name="Jacob, Karen (SPAC/PSPC) (elle-la / she-her)" userId="66e9cce0-e37b-4645-a907-f7690bd68dfb" providerId="ADAL" clId="{A3599A74-B049-44EE-8670-DE420CF3148A}" dt="2024-10-23T18:24:08.147" v="8108" actId="478"/>
          <ac:spMkLst>
            <pc:docMk/>
            <pc:sldMk cId="775145580" sldId="5170"/>
            <ac:spMk id="2" creationId="{32ACC9C4-D813-A34D-DAE5-E581EFBDB275}"/>
          </ac:spMkLst>
        </pc:spChg>
        <pc:spChg chg="del">
          <ac:chgData name="Jacob, Karen (SPAC/PSPC) (elle-la / she-her)" userId="66e9cce0-e37b-4645-a907-f7690bd68dfb" providerId="ADAL" clId="{A3599A74-B049-44EE-8670-DE420CF3148A}" dt="2024-10-23T19:38:16.061" v="14399" actId="478"/>
          <ac:spMkLst>
            <pc:docMk/>
            <pc:sldMk cId="775145580" sldId="5170"/>
            <ac:spMk id="3" creationId="{4AF771F5-7B88-D0E8-47FD-11227AEF7D8C}"/>
          </ac:spMkLst>
        </pc:spChg>
        <pc:spChg chg="add del mod">
          <ac:chgData name="Jacob, Karen (SPAC/PSPC) (elle-la / she-her)" userId="66e9cce0-e37b-4645-a907-f7690bd68dfb" providerId="ADAL" clId="{A3599A74-B049-44EE-8670-DE420CF3148A}" dt="2024-10-30T19:31:36.586" v="19756" actId="207"/>
          <ac:spMkLst>
            <pc:docMk/>
            <pc:sldMk cId="775145580" sldId="5170"/>
            <ac:spMk id="4" creationId="{7D0AA24E-8F9C-5384-47ED-0C5CBF0D2122}"/>
          </ac:spMkLst>
        </pc:spChg>
        <pc:spChg chg="add del mod">
          <ac:chgData name="Jacob, Karen (SPAC/PSPC) (elle-la / she-her)" userId="66e9cce0-e37b-4645-a907-f7690bd68dfb" providerId="ADAL" clId="{A3599A74-B049-44EE-8670-DE420CF3148A}" dt="2024-10-23T18:24:04.172" v="8107" actId="478"/>
          <ac:spMkLst>
            <pc:docMk/>
            <pc:sldMk cId="775145580" sldId="5170"/>
            <ac:spMk id="6" creationId="{6F1CF89C-C176-DEFA-86DD-8AF63B465801}"/>
          </ac:spMkLst>
        </pc:spChg>
      </pc:sldChg>
    </pc:docChg>
  </pc:docChgLst>
  <pc:docChgLst>
    <pc:chgData name="Abbas, Leyla (SPAC/PSPC) (elle-la / she-her)" userId="S::leyla.abbas@tpsgc-pwgsc.gc.ca::da27d1c1-2479-4b38-9860-f58297398a7f" providerId="AD" clId="Web-{0F08A7E3-92B3-EC99-EE44-4721A49A2B6C}"/>
    <pc:docChg chg="modSld">
      <pc:chgData name="Abbas, Leyla (SPAC/PSPC) (elle-la / she-her)" userId="S::leyla.abbas@tpsgc-pwgsc.gc.ca::da27d1c1-2479-4b38-9860-f58297398a7f" providerId="AD" clId="Web-{0F08A7E3-92B3-EC99-EE44-4721A49A2B6C}" dt="2024-10-25T17:59:23.623" v="11" actId="20577"/>
      <pc:docMkLst>
        <pc:docMk/>
      </pc:docMkLst>
      <pc:sldChg chg="modSp">
        <pc:chgData name="Abbas, Leyla (SPAC/PSPC) (elle-la / she-her)" userId="S::leyla.abbas@tpsgc-pwgsc.gc.ca::da27d1c1-2479-4b38-9860-f58297398a7f" providerId="AD" clId="Web-{0F08A7E3-92B3-EC99-EE44-4721A49A2B6C}" dt="2024-10-25T17:59:23.623" v="11" actId="20577"/>
        <pc:sldMkLst>
          <pc:docMk/>
          <pc:sldMk cId="1022071146" sldId="5154"/>
        </pc:sldMkLst>
        <pc:spChg chg="mod">
          <ac:chgData name="Abbas, Leyla (SPAC/PSPC) (elle-la / she-her)" userId="S::leyla.abbas@tpsgc-pwgsc.gc.ca::da27d1c1-2479-4b38-9860-f58297398a7f" providerId="AD" clId="Web-{0F08A7E3-92B3-EC99-EE44-4721A49A2B6C}" dt="2024-10-25T17:59:23.623" v="11" actId="20577"/>
          <ac:spMkLst>
            <pc:docMk/>
            <pc:sldMk cId="1022071146" sldId="5154"/>
            <ac:spMk id="3" creationId="{7A78167E-F052-C9E8-04C8-15DFB9851FEC}"/>
          </ac:spMkLst>
        </pc:spChg>
      </pc:sldChg>
    </pc:docChg>
  </pc:docChgLst>
  <pc:docChgLst>
    <pc:chgData name="Dion3, Alain (SPAC/PSPC) (il-lui / he-him)" userId="b5972ad0-fee1-4393-9fd4-8bc589782ac7" providerId="ADAL" clId="{9991F5E4-1AFE-4C9C-ABAD-4C228D2D757F}"/>
    <pc:docChg chg="modSld">
      <pc:chgData name="Dion3, Alain (SPAC/PSPC) (il-lui / he-him)" userId="b5972ad0-fee1-4393-9fd4-8bc589782ac7" providerId="ADAL" clId="{9991F5E4-1AFE-4C9C-ABAD-4C228D2D757F}" dt="2024-11-05T14:31:39.633" v="23" actId="20577"/>
      <pc:docMkLst>
        <pc:docMk/>
      </pc:docMkLst>
      <pc:sldChg chg="modSp">
        <pc:chgData name="Dion3, Alain (SPAC/PSPC) (il-lui / he-him)" userId="b5972ad0-fee1-4393-9fd4-8bc589782ac7" providerId="ADAL" clId="{9991F5E4-1AFE-4C9C-ABAD-4C228D2D757F}" dt="2024-11-05T13:05:34.643" v="11" actId="20577"/>
        <pc:sldMkLst>
          <pc:docMk/>
          <pc:sldMk cId="782836501" sldId="385"/>
        </pc:sldMkLst>
        <pc:graphicFrameChg chg="mod">
          <ac:chgData name="Dion3, Alain (SPAC/PSPC) (il-lui / he-him)" userId="b5972ad0-fee1-4393-9fd4-8bc589782ac7" providerId="ADAL" clId="{9991F5E4-1AFE-4C9C-ABAD-4C228D2D757F}" dt="2024-11-05T13:05:34.643" v="11" actId="20577"/>
          <ac:graphicFrameMkLst>
            <pc:docMk/>
            <pc:sldMk cId="782836501" sldId="385"/>
            <ac:graphicFrameMk id="5" creationId="{47AF23CB-9CF8-3A93-AC5C-6849E2091E92}"/>
          </ac:graphicFrameMkLst>
        </pc:graphicFrameChg>
      </pc:sldChg>
      <pc:sldChg chg="modSp mod">
        <pc:chgData name="Dion3, Alain (SPAC/PSPC) (il-lui / he-him)" userId="b5972ad0-fee1-4393-9fd4-8bc589782ac7" providerId="ADAL" clId="{9991F5E4-1AFE-4C9C-ABAD-4C228D2D757F}" dt="2024-11-04T18:02:21.923" v="7" actId="13926"/>
        <pc:sldMkLst>
          <pc:docMk/>
          <pc:sldMk cId="3499923032" sldId="5146"/>
        </pc:sldMkLst>
        <pc:spChg chg="mod">
          <ac:chgData name="Dion3, Alain (SPAC/PSPC) (il-lui / he-him)" userId="b5972ad0-fee1-4393-9fd4-8bc589782ac7" providerId="ADAL" clId="{9991F5E4-1AFE-4C9C-ABAD-4C228D2D757F}" dt="2024-11-04T18:02:21.923" v="7" actId="13926"/>
          <ac:spMkLst>
            <pc:docMk/>
            <pc:sldMk cId="3499923032" sldId="5146"/>
            <ac:spMk id="10" creationId="{000D524A-320F-6BB4-B947-05E0A947FBA7}"/>
          </ac:spMkLst>
        </pc:spChg>
      </pc:sldChg>
      <pc:sldChg chg="modSp mod">
        <pc:chgData name="Dion3, Alain (SPAC/PSPC) (il-lui / he-him)" userId="b5972ad0-fee1-4393-9fd4-8bc589782ac7" providerId="ADAL" clId="{9991F5E4-1AFE-4C9C-ABAD-4C228D2D757F}" dt="2024-11-05T13:14:18.314" v="12" actId="20577"/>
        <pc:sldMkLst>
          <pc:docMk/>
          <pc:sldMk cId="2509489348" sldId="5153"/>
        </pc:sldMkLst>
        <pc:spChg chg="mod">
          <ac:chgData name="Dion3, Alain (SPAC/PSPC) (il-lui / he-him)" userId="b5972ad0-fee1-4393-9fd4-8bc589782ac7" providerId="ADAL" clId="{9991F5E4-1AFE-4C9C-ABAD-4C228D2D757F}" dt="2024-11-05T13:14:18.314" v="12" actId="20577"/>
          <ac:spMkLst>
            <pc:docMk/>
            <pc:sldMk cId="2509489348" sldId="5153"/>
            <ac:spMk id="6" creationId="{55B9010B-A8A7-9B6F-B5B4-3FFDE75A9E2A}"/>
          </ac:spMkLst>
        </pc:spChg>
      </pc:sldChg>
      <pc:sldChg chg="modSp mod">
        <pc:chgData name="Dion3, Alain (SPAC/PSPC) (il-lui / he-him)" userId="b5972ad0-fee1-4393-9fd4-8bc589782ac7" providerId="ADAL" clId="{9991F5E4-1AFE-4C9C-ABAD-4C228D2D757F}" dt="2024-11-05T14:31:39.633" v="23" actId="20577"/>
        <pc:sldMkLst>
          <pc:docMk/>
          <pc:sldMk cId="1022071146" sldId="5154"/>
        </pc:sldMkLst>
        <pc:spChg chg="mod">
          <ac:chgData name="Dion3, Alain (SPAC/PSPC) (il-lui / he-him)" userId="b5972ad0-fee1-4393-9fd4-8bc589782ac7" providerId="ADAL" clId="{9991F5E4-1AFE-4C9C-ABAD-4C228D2D757F}" dt="2024-11-05T14:31:27.132" v="16" actId="20577"/>
          <ac:spMkLst>
            <pc:docMk/>
            <pc:sldMk cId="1022071146" sldId="5154"/>
            <ac:spMk id="84" creationId="{2B0328CC-C16A-56CA-D000-EA18226D76E5}"/>
          </ac:spMkLst>
        </pc:spChg>
        <pc:spChg chg="mod">
          <ac:chgData name="Dion3, Alain (SPAC/PSPC) (il-lui / he-him)" userId="b5972ad0-fee1-4393-9fd4-8bc589782ac7" providerId="ADAL" clId="{9991F5E4-1AFE-4C9C-ABAD-4C228D2D757F}" dt="2024-11-05T14:31:29.796" v="18" actId="20577"/>
          <ac:spMkLst>
            <pc:docMk/>
            <pc:sldMk cId="1022071146" sldId="5154"/>
            <ac:spMk id="85" creationId="{5BF43345-89A2-8BD1-AAB5-685CC2838D7D}"/>
          </ac:spMkLst>
        </pc:spChg>
        <pc:spChg chg="mod">
          <ac:chgData name="Dion3, Alain (SPAC/PSPC) (il-lui / he-him)" userId="b5972ad0-fee1-4393-9fd4-8bc589782ac7" providerId="ADAL" clId="{9991F5E4-1AFE-4C9C-ABAD-4C228D2D757F}" dt="2024-11-05T14:31:24.305" v="14" actId="20577"/>
          <ac:spMkLst>
            <pc:docMk/>
            <pc:sldMk cId="1022071146" sldId="5154"/>
            <ac:spMk id="86" creationId="{36F3A7BC-2D1A-741B-822A-079CEF79C39F}"/>
          </ac:spMkLst>
        </pc:spChg>
        <pc:spChg chg="mod">
          <ac:chgData name="Dion3, Alain (SPAC/PSPC) (il-lui / he-him)" userId="b5972ad0-fee1-4393-9fd4-8bc589782ac7" providerId="ADAL" clId="{9991F5E4-1AFE-4C9C-ABAD-4C228D2D757F}" dt="2024-11-05T14:31:34.633" v="21" actId="20577"/>
          <ac:spMkLst>
            <pc:docMk/>
            <pc:sldMk cId="1022071146" sldId="5154"/>
            <ac:spMk id="87" creationId="{A98FC754-5F9D-A6AB-8070-6E366FA59DE0}"/>
          </ac:spMkLst>
        </pc:spChg>
        <pc:spChg chg="mod">
          <ac:chgData name="Dion3, Alain (SPAC/PSPC) (il-lui / he-him)" userId="b5972ad0-fee1-4393-9fd4-8bc589782ac7" providerId="ADAL" clId="{9991F5E4-1AFE-4C9C-ABAD-4C228D2D757F}" dt="2024-11-05T14:31:39.633" v="23" actId="20577"/>
          <ac:spMkLst>
            <pc:docMk/>
            <pc:sldMk cId="1022071146" sldId="5154"/>
            <ac:spMk id="88" creationId="{A6684F48-A2FE-496D-6BD2-6AF0B6FF503C}"/>
          </ac:spMkLst>
        </pc:spChg>
      </pc:sldChg>
    </pc:docChg>
  </pc:docChgLst>
  <pc:docChgLst>
    <pc:chgData name="Bemeur, Chantal (SPAC/PSPC) (elle-la / she-her)" userId="S::chantal.bemeur@tpsgc-pwgsc.gc.ca::97d9d3ea-19b5-4147-b2f7-c6eb9c5930c3" providerId="AD" clId="Web-{E1059E3A-D4AE-B3F2-4322-B280099015E4}"/>
    <pc:docChg chg="mod">
      <pc:chgData name="Bemeur, Chantal (SPAC/PSPC) (elle-la / she-her)" userId="S::chantal.bemeur@tpsgc-pwgsc.gc.ca::97d9d3ea-19b5-4147-b2f7-c6eb9c5930c3" providerId="AD" clId="Web-{E1059E3A-D4AE-B3F2-4322-B280099015E4}" dt="2024-10-18T21:08:52.932" v="0"/>
      <pc:docMkLst>
        <pc:docMk/>
      </pc:docMkLst>
    </pc:docChg>
  </pc:docChgLst>
  <pc:docChgLst>
    <pc:chgData name="Dion3, Alain (SPAC/PSPC) (il-lui / he-him)" userId="b5972ad0-fee1-4393-9fd4-8bc589782ac7" providerId="ADAL" clId="{3ACCABA1-D66F-4904-8251-B355270E7CFD}"/>
    <pc:docChg chg="undo custSel modSld">
      <pc:chgData name="Dion3, Alain (SPAC/PSPC) (il-lui / he-him)" userId="b5972ad0-fee1-4393-9fd4-8bc589782ac7" providerId="ADAL" clId="{3ACCABA1-D66F-4904-8251-B355270E7CFD}" dt="2024-10-28T15:00:23.249" v="538"/>
      <pc:docMkLst>
        <pc:docMk/>
      </pc:docMkLst>
      <pc:sldChg chg="modSp mod">
        <pc:chgData name="Dion3, Alain (SPAC/PSPC) (il-lui / he-him)" userId="b5972ad0-fee1-4393-9fd4-8bc589782ac7" providerId="ADAL" clId="{3ACCABA1-D66F-4904-8251-B355270E7CFD}" dt="2024-10-28T13:31:14.060" v="10"/>
        <pc:sldMkLst>
          <pc:docMk/>
          <pc:sldMk cId="1739606208" sldId="384"/>
        </pc:sldMkLst>
        <pc:spChg chg="replST">
          <ac:chgData name="Dion3, Alain (SPAC/PSPC) (il-lui / he-him)" userId="b5972ad0-fee1-4393-9fd4-8bc589782ac7" providerId="ADAL" clId="{3ACCABA1-D66F-4904-8251-B355270E7CFD}" dt="2024-10-28T13:31:14.028" v="6"/>
          <ac:spMkLst>
            <pc:docMk/>
            <pc:sldMk cId="1739606208" sldId="384"/>
            <ac:spMk id="15" creationId="{411163A5-7CB5-46A7-AE5F-BC3D5AAEA03C}"/>
          </ac:spMkLst>
        </pc:spChg>
        <pc:spChg chg="replST">
          <ac:chgData name="Dion3, Alain (SPAC/PSPC) (il-lui / he-him)" userId="b5972ad0-fee1-4393-9fd4-8bc589782ac7" providerId="ADAL" clId="{3ACCABA1-D66F-4904-8251-B355270E7CFD}" dt="2024-10-28T13:31:14.041" v="7"/>
          <ac:spMkLst>
            <pc:docMk/>
            <pc:sldMk cId="1739606208" sldId="384"/>
            <ac:spMk id="16" creationId="{68044161-86F9-4088-A6B9-05999097B37C}"/>
          </ac:spMkLst>
        </pc:spChg>
        <pc:spChg chg="replST">
          <ac:chgData name="Dion3, Alain (SPAC/PSPC) (il-lui / he-him)" userId="b5972ad0-fee1-4393-9fd4-8bc589782ac7" providerId="ADAL" clId="{3ACCABA1-D66F-4904-8251-B355270E7CFD}" dt="2024-10-28T13:31:14.048" v="8"/>
          <ac:spMkLst>
            <pc:docMk/>
            <pc:sldMk cId="1739606208" sldId="384"/>
            <ac:spMk id="19" creationId="{6F17F2A8-C13F-4D59-AEE3-797B6ED58FD3}"/>
          </ac:spMkLst>
        </pc:spChg>
        <pc:graphicFrameChg chg="replST">
          <ac:chgData name="Dion3, Alain (SPAC/PSPC) (il-lui / he-him)" userId="b5972ad0-fee1-4393-9fd4-8bc589782ac7" providerId="ADAL" clId="{3ACCABA1-D66F-4904-8251-B355270E7CFD}" dt="2024-10-28T13:31:14.019" v="5"/>
          <ac:graphicFrameMkLst>
            <pc:docMk/>
            <pc:sldMk cId="1739606208" sldId="384"/>
            <ac:graphicFrameMk id="4" creationId="{00000000-0000-0000-0000-000000000000}"/>
          </ac:graphicFrameMkLst>
        </pc:graphicFrameChg>
        <pc:picChg chg="replST">
          <ac:chgData name="Dion3, Alain (SPAC/PSPC) (il-lui / he-him)" userId="b5972ad0-fee1-4393-9fd4-8bc589782ac7" providerId="ADAL" clId="{3ACCABA1-D66F-4904-8251-B355270E7CFD}" dt="2024-10-28T13:31:14.060" v="10"/>
          <ac:picMkLst>
            <pc:docMk/>
            <pc:sldMk cId="1739606208" sldId="384"/>
            <ac:picMk id="3" creationId="{1954C225-5C7E-D340-D4FB-948CFEF5C684}"/>
          </ac:picMkLst>
        </pc:picChg>
        <pc:picChg chg="replST">
          <ac:chgData name="Dion3, Alain (SPAC/PSPC) (il-lui / he-him)" userId="b5972ad0-fee1-4393-9fd4-8bc589782ac7" providerId="ADAL" clId="{3ACCABA1-D66F-4904-8251-B355270E7CFD}" dt="2024-10-28T13:31:14.054" v="9"/>
          <ac:picMkLst>
            <pc:docMk/>
            <pc:sldMk cId="1739606208" sldId="384"/>
            <ac:picMk id="22" creationId="{3F213B2A-499F-44AF-AE46-FE468AC2FE04}"/>
          </ac:picMkLst>
        </pc:picChg>
      </pc:sldChg>
      <pc:sldChg chg="modSp mod addCm modNotes modNotesTx">
        <pc:chgData name="Dion3, Alain (SPAC/PSPC) (il-lui / he-him)" userId="b5972ad0-fee1-4393-9fd4-8bc589782ac7" providerId="ADAL" clId="{3ACCABA1-D66F-4904-8251-B355270E7CFD}" dt="2024-10-28T14:22:17.528" v="265" actId="20577"/>
        <pc:sldMkLst>
          <pc:docMk/>
          <pc:sldMk cId="782836501" sldId="385"/>
        </pc:sldMkLst>
        <pc:spChg chg="mod replST">
          <ac:chgData name="Dion3, Alain (SPAC/PSPC) (il-lui / he-him)" userId="b5972ad0-fee1-4393-9fd4-8bc589782ac7" providerId="ADAL" clId="{3ACCABA1-D66F-4904-8251-B355270E7CFD}" dt="2024-10-28T14:16:04.897" v="236"/>
          <ac:spMkLst>
            <pc:docMk/>
            <pc:sldMk cId="782836501" sldId="385"/>
            <ac:spMk id="2" creationId="{7848FF00-1347-4DA1-9437-1B4A0F154B78}"/>
          </ac:spMkLst>
        </pc:spChg>
        <pc:spChg chg="replST">
          <ac:chgData name="Dion3, Alain (SPAC/PSPC) (il-lui / he-him)" userId="b5972ad0-fee1-4393-9fd4-8bc589782ac7" providerId="ADAL" clId="{3ACCABA1-D66F-4904-8251-B355270E7CFD}" dt="2024-10-28T13:31:14.333" v="52"/>
          <ac:spMkLst>
            <pc:docMk/>
            <pc:sldMk cId="782836501" sldId="385"/>
            <ac:spMk id="4" creationId="{F4D4C3C8-8CC6-4BF9-B9F0-0B29F37F2A1C}"/>
          </ac:spMkLst>
        </pc:spChg>
        <pc:graphicFrameChg chg="mod replST">
          <ac:chgData name="Dion3, Alain (SPAC/PSPC) (il-lui / he-him)" userId="b5972ad0-fee1-4393-9fd4-8bc589782ac7" providerId="ADAL" clId="{3ACCABA1-D66F-4904-8251-B355270E7CFD}" dt="2024-10-28T14:15:39.009" v="235" actId="20577"/>
          <ac:graphicFrameMkLst>
            <pc:docMk/>
            <pc:sldMk cId="782836501" sldId="385"/>
            <ac:graphicFrameMk id="5" creationId="{47AF23CB-9CF8-3A93-AC5C-6849E2091E92}"/>
          </ac:graphicFrameMkLst>
        </pc:graphicFrameChg>
        <pc:picChg chg="replST">
          <ac:chgData name="Dion3, Alain (SPAC/PSPC) (il-lui / he-him)" userId="b5972ad0-fee1-4393-9fd4-8bc589782ac7" providerId="ADAL" clId="{3ACCABA1-D66F-4904-8251-B355270E7CFD}" dt="2024-10-28T13:31:14.351" v="55"/>
          <ac:picMkLst>
            <pc:docMk/>
            <pc:sldMk cId="782836501" sldId="385"/>
            <ac:picMk id="3" creationId="{4764C197-A1C5-4D1B-9772-6248B9F555B9}"/>
          </ac:picMkLst>
        </pc:picChg>
        <pc:picChg chg="replST">
          <ac:chgData name="Dion3, Alain (SPAC/PSPC) (il-lui / he-him)" userId="b5972ad0-fee1-4393-9fd4-8bc589782ac7" providerId="ADAL" clId="{3ACCABA1-D66F-4904-8251-B355270E7CFD}" dt="2024-10-28T13:31:14.345" v="54"/>
          <ac:picMkLst>
            <pc:docMk/>
            <pc:sldMk cId="782836501" sldId="385"/>
            <ac:picMk id="11" creationId="{4BE59BA4-5D6C-4A38-8A73-5686AAF2BAF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16:22.019" v="237"/>
              <pc2:cmMkLst xmlns:pc2="http://schemas.microsoft.com/office/powerpoint/2019/9/main/command">
                <pc:docMk/>
                <pc:sldMk cId="782836501" sldId="385"/>
                <pc2:cmMk id="{2BDB6A8A-A80B-41A7-A37B-6556F60CAF4D}"/>
              </pc2:cmMkLst>
            </pc226:cmChg>
          </p:ext>
        </pc:extLst>
      </pc:sldChg>
      <pc:sldChg chg="modSp mod addCm modCm">
        <pc:chgData name="Dion3, Alain (SPAC/PSPC) (il-lui / he-him)" userId="b5972ad0-fee1-4393-9fd4-8bc589782ac7" providerId="ADAL" clId="{3ACCABA1-D66F-4904-8251-B355270E7CFD}" dt="2024-10-28T14:45:05.712" v="390" actId="20577"/>
        <pc:sldMkLst>
          <pc:docMk/>
          <pc:sldMk cId="3499923032" sldId="5146"/>
        </pc:sldMkLst>
        <pc:spChg chg="replST">
          <ac:chgData name="Dion3, Alain (SPAC/PSPC) (il-lui / he-him)" userId="b5972ad0-fee1-4393-9fd4-8bc589782ac7" providerId="ADAL" clId="{3ACCABA1-D66F-4904-8251-B355270E7CFD}" dt="2024-10-28T13:31:14.066" v="11"/>
          <ac:spMkLst>
            <pc:docMk/>
            <pc:sldMk cId="3499923032" sldId="5146"/>
            <ac:spMk id="5" creationId="{249EDED2-ACA5-E482-22BD-5F1403FEDBE4}"/>
          </ac:spMkLst>
        </pc:spChg>
        <pc:spChg chg="replST">
          <ac:chgData name="Dion3, Alain (SPAC/PSPC) (il-lui / he-him)" userId="b5972ad0-fee1-4393-9fd4-8bc589782ac7" providerId="ADAL" clId="{3ACCABA1-D66F-4904-8251-B355270E7CFD}" dt="2024-10-28T13:31:14.072" v="12"/>
          <ac:spMkLst>
            <pc:docMk/>
            <pc:sldMk cId="3499923032" sldId="5146"/>
            <ac:spMk id="8" creationId="{58BD4A98-E2BD-BCB3-4425-DC3B6B10B60C}"/>
          </ac:spMkLst>
        </pc:spChg>
        <pc:spChg chg="mod replST">
          <ac:chgData name="Dion3, Alain (SPAC/PSPC) (il-lui / he-him)" userId="b5972ad0-fee1-4393-9fd4-8bc589782ac7" providerId="ADAL" clId="{3ACCABA1-D66F-4904-8251-B355270E7CFD}" dt="2024-10-28T14:45:05.712" v="390" actId="20577"/>
          <ac:spMkLst>
            <pc:docMk/>
            <pc:sldMk cId="3499923032" sldId="5146"/>
            <ac:spMk id="10" creationId="{000D524A-320F-6BB4-B947-05E0A947FBA7}"/>
          </ac:spMkLst>
        </pc:sp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84837318-60D0-4AAA-A600-F35F7829DA8B}"/>
              </pc2:cmMkLst>
            </pc226:cmChg>
            <pc226:cmChg xmlns:pc226="http://schemas.microsoft.com/office/powerpoint/2022/06/main/command" chg="add mod">
              <pc226:chgData name="Dion3, Alain (SPAC/PSPC) (il-lui / he-him)" userId="b5972ad0-fee1-4393-9fd4-8bc589782ac7" providerId="ADAL" clId="{3ACCABA1-D66F-4904-8251-B355270E7CFD}" dt="2024-10-28T14:45:05.712" v="390" actId="20577"/>
              <pc2:cmMkLst xmlns:pc2="http://schemas.microsoft.com/office/powerpoint/2019/9/main/command">
                <pc:docMk/>
                <pc:sldMk cId="3499923032" sldId="5146"/>
                <pc2:cmMk id="{98484DB0-A815-436A-903F-8EA5EEB72975}"/>
              </pc2:cmMkLst>
            </pc226:cmChg>
          </p:ext>
        </pc:extLst>
      </pc:sldChg>
      <pc:sldChg chg="modSp mod addCm modCm modNotes modNotesTx">
        <pc:chgData name="Dion3, Alain (SPAC/PSPC) (il-lui / he-him)" userId="b5972ad0-fee1-4393-9fd4-8bc589782ac7" providerId="ADAL" clId="{3ACCABA1-D66F-4904-8251-B355270E7CFD}" dt="2024-10-28T14:38:30.859" v="310" actId="20577"/>
        <pc:sldMkLst>
          <pc:docMk/>
          <pc:sldMk cId="2509489348" sldId="5153"/>
        </pc:sldMkLst>
        <pc:spChg chg="mod replST">
          <ac:chgData name="Dion3, Alain (SPAC/PSPC) (il-lui / he-him)" userId="b5972ad0-fee1-4393-9fd4-8bc589782ac7" providerId="ADAL" clId="{3ACCABA1-D66F-4904-8251-B355270E7CFD}" dt="2024-10-28T14:24:11.928" v="271" actId="790"/>
          <ac:spMkLst>
            <pc:docMk/>
            <pc:sldMk cId="2509489348" sldId="5153"/>
            <ac:spMk id="3" creationId="{41BE6B50-88EB-D2A5-67D3-AD36A9027E26}"/>
          </ac:spMkLst>
        </pc:spChg>
        <pc:spChg chg="mod replST">
          <ac:chgData name="Dion3, Alain (SPAC/PSPC) (il-lui / he-him)" userId="b5972ad0-fee1-4393-9fd4-8bc589782ac7" providerId="ADAL" clId="{3ACCABA1-D66F-4904-8251-B355270E7CFD}" dt="2024-10-28T14:24:11.928" v="271" actId="790"/>
          <ac:spMkLst>
            <pc:docMk/>
            <pc:sldMk cId="2509489348" sldId="5153"/>
            <ac:spMk id="4" creationId="{630D77A7-4E8E-7081-F0AC-4F3053A49FAC}"/>
          </ac:spMkLst>
        </pc:spChg>
        <pc:spChg chg="mod replST">
          <ac:chgData name="Dion3, Alain (SPAC/PSPC) (il-lui / he-him)" userId="b5972ad0-fee1-4393-9fd4-8bc589782ac7" providerId="ADAL" clId="{3ACCABA1-D66F-4904-8251-B355270E7CFD}" dt="2024-10-28T14:24:48.305" v="298" actId="20577"/>
          <ac:spMkLst>
            <pc:docMk/>
            <pc:sldMk cId="2509489348" sldId="5153"/>
            <ac:spMk id="5" creationId="{D0DACE9A-1229-9EEE-A180-51B071D4E977}"/>
          </ac:spMkLst>
        </pc:spChg>
        <pc:spChg chg="mod replST">
          <ac:chgData name="Dion3, Alain (SPAC/PSPC) (il-lui / he-him)" userId="b5972ad0-fee1-4393-9fd4-8bc589782ac7" providerId="ADAL" clId="{3ACCABA1-D66F-4904-8251-B355270E7CFD}" dt="2024-10-28T14:24:11.928" v="271" actId="790"/>
          <ac:spMkLst>
            <pc:docMk/>
            <pc:sldMk cId="2509489348" sldId="5153"/>
            <ac:spMk id="6" creationId="{55B9010B-A8A7-9B6F-B5B4-3FFDE75A9E2A}"/>
          </ac:spMkLst>
        </pc:spChg>
        <pc:picChg chg="replST">
          <ac:chgData name="Dion3, Alain (SPAC/PSPC) (il-lui / he-him)" userId="b5972ad0-fee1-4393-9fd4-8bc589782ac7" providerId="ADAL" clId="{3ACCABA1-D66F-4904-8251-B355270E7CFD}" dt="2024-10-28T13:31:14.423" v="65"/>
          <ac:picMkLst>
            <pc:docMk/>
            <pc:sldMk cId="2509489348" sldId="5153"/>
            <ac:picMk id="2" creationId="{0E9612D6-45F7-B170-9554-337FDA33561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4:48.305" v="298" actId="20577"/>
              <pc2:cmMkLst xmlns:pc2="http://schemas.microsoft.com/office/powerpoint/2019/9/main/command">
                <pc:docMk/>
                <pc:sldMk cId="2509489348" sldId="5153"/>
                <pc2:cmMk id="{A04B6C77-3AD8-4C27-BA6B-9D16BA7C9FC3}"/>
              </pc2:cmMkLst>
            </pc226:cmChg>
            <pc226:cmChg xmlns:pc226="http://schemas.microsoft.com/office/powerpoint/2022/06/main/command" chg="add">
              <pc226:chgData name="Dion3, Alain (SPAC/PSPC) (il-lui / he-him)" userId="b5972ad0-fee1-4393-9fd4-8bc589782ac7" providerId="ADAL" clId="{3ACCABA1-D66F-4904-8251-B355270E7CFD}" dt="2024-10-28T14:25:16.552" v="299"/>
              <pc2:cmMkLst xmlns:pc2="http://schemas.microsoft.com/office/powerpoint/2019/9/main/command">
                <pc:docMk/>
                <pc:sldMk cId="2509489348" sldId="5153"/>
                <pc2:cmMk id="{04DBD37E-CAF2-41DB-9F84-6FDC3BC5F9AB}"/>
              </pc2:cmMkLst>
            </pc226:cmChg>
          </p:ext>
        </pc:extLst>
      </pc:sldChg>
      <pc:sldChg chg="modSp mod addCm modCm">
        <pc:chgData name="Dion3, Alain (SPAC/PSPC) (il-lui / he-him)" userId="b5972ad0-fee1-4393-9fd4-8bc589782ac7" providerId="ADAL" clId="{3ACCABA1-D66F-4904-8251-B355270E7CFD}" dt="2024-10-28T14:46:34.996" v="392"/>
        <pc:sldMkLst>
          <pc:docMk/>
          <pc:sldMk cId="1022071146" sldId="5154"/>
        </pc:sldMkLst>
        <pc:spChg chg="mod replST">
          <ac:chgData name="Dion3, Alain (SPAC/PSPC) (il-lui / he-him)" userId="b5972ad0-fee1-4393-9fd4-8bc589782ac7" providerId="ADAL" clId="{3ACCABA1-D66F-4904-8251-B355270E7CFD}" dt="2024-10-28T14:43:40.209" v="354" actId="790"/>
          <ac:spMkLst>
            <pc:docMk/>
            <pc:sldMk cId="1022071146" sldId="5154"/>
            <ac:spMk id="2" creationId="{E2A90173-C9BE-15AB-2F1B-343129698A10}"/>
          </ac:spMkLst>
        </pc:spChg>
        <pc:spChg chg="mod replST">
          <ac:chgData name="Dion3, Alain (SPAC/PSPC) (il-lui / he-him)" userId="b5972ad0-fee1-4393-9fd4-8bc589782ac7" providerId="ADAL" clId="{3ACCABA1-D66F-4904-8251-B355270E7CFD}" dt="2024-10-28T14:44:40.806" v="361" actId="20577"/>
          <ac:spMkLst>
            <pc:docMk/>
            <pc:sldMk cId="1022071146" sldId="5154"/>
            <ac:spMk id="3" creationId="{7A78167E-F052-C9E8-04C8-15DFB9851FEC}"/>
          </ac:spMkLst>
        </pc:spChg>
        <pc:spChg chg="mod replST">
          <ac:chgData name="Dion3, Alain (SPAC/PSPC) (il-lui / he-him)" userId="b5972ad0-fee1-4393-9fd4-8bc589782ac7" providerId="ADAL" clId="{3ACCABA1-D66F-4904-8251-B355270E7CFD}" dt="2024-10-28T14:43:40.209" v="354" actId="790"/>
          <ac:spMkLst>
            <pc:docMk/>
            <pc:sldMk cId="1022071146" sldId="5154"/>
            <ac:spMk id="5" creationId="{990E4937-9203-80F1-1D3B-46A2B6309F3A}"/>
          </ac:spMkLst>
        </pc:spChg>
        <pc:spChg chg="mod">
          <ac:chgData name="Dion3, Alain (SPAC/PSPC) (il-lui / he-him)" userId="b5972ad0-fee1-4393-9fd4-8bc589782ac7" providerId="ADAL" clId="{3ACCABA1-D66F-4904-8251-B355270E7CFD}" dt="2024-10-28T14:43:40.209" v="354" actId="790"/>
          <ac:spMkLst>
            <pc:docMk/>
            <pc:sldMk cId="1022071146" sldId="5154"/>
            <ac:spMk id="16" creationId="{9FC768E5-1F64-2B56-E0C1-44C03EE92B56}"/>
          </ac:spMkLst>
        </pc:spChg>
        <pc:spChg chg="mod">
          <ac:chgData name="Dion3, Alain (SPAC/PSPC) (il-lui / he-him)" userId="b5972ad0-fee1-4393-9fd4-8bc589782ac7" providerId="ADAL" clId="{3ACCABA1-D66F-4904-8251-B355270E7CFD}" dt="2024-10-28T14:43:40.209" v="354" actId="790"/>
          <ac:spMkLst>
            <pc:docMk/>
            <pc:sldMk cId="1022071146" sldId="5154"/>
            <ac:spMk id="18" creationId="{70058B1D-0A8A-760D-BED4-2BB0341C1D65}"/>
          </ac:spMkLst>
        </pc:spChg>
        <pc:spChg chg="mod">
          <ac:chgData name="Dion3, Alain (SPAC/PSPC) (il-lui / he-him)" userId="b5972ad0-fee1-4393-9fd4-8bc589782ac7" providerId="ADAL" clId="{3ACCABA1-D66F-4904-8251-B355270E7CFD}" dt="2024-10-28T14:43:40.209" v="354" actId="790"/>
          <ac:spMkLst>
            <pc:docMk/>
            <pc:sldMk cId="1022071146" sldId="5154"/>
            <ac:spMk id="20" creationId="{9ACC593A-9919-1799-8ABB-A64A666F9F26}"/>
          </ac:spMkLst>
        </pc:spChg>
        <pc:spChg chg="mod">
          <ac:chgData name="Dion3, Alain (SPAC/PSPC) (il-lui / he-him)" userId="b5972ad0-fee1-4393-9fd4-8bc589782ac7" providerId="ADAL" clId="{3ACCABA1-D66F-4904-8251-B355270E7CFD}" dt="2024-10-28T14:43:40.209" v="354" actId="790"/>
          <ac:spMkLst>
            <pc:docMk/>
            <pc:sldMk cId="1022071146" sldId="5154"/>
            <ac:spMk id="21" creationId="{E3C94D93-CA24-69BA-42B5-5D6F6FBA9C87}"/>
          </ac:spMkLst>
        </pc:spChg>
        <pc:spChg chg="mod">
          <ac:chgData name="Dion3, Alain (SPAC/PSPC) (il-lui / he-him)" userId="b5972ad0-fee1-4393-9fd4-8bc589782ac7" providerId="ADAL" clId="{3ACCABA1-D66F-4904-8251-B355270E7CFD}" dt="2024-10-28T14:43:40.209" v="354" actId="790"/>
          <ac:spMkLst>
            <pc:docMk/>
            <pc:sldMk cId="1022071146" sldId="5154"/>
            <ac:spMk id="23" creationId="{4C6A7B9E-69AE-501D-1378-FDD8B8D94959}"/>
          </ac:spMkLst>
        </pc:spChg>
        <pc:spChg chg="mod">
          <ac:chgData name="Dion3, Alain (SPAC/PSPC) (il-lui / he-him)" userId="b5972ad0-fee1-4393-9fd4-8bc589782ac7" providerId="ADAL" clId="{3ACCABA1-D66F-4904-8251-B355270E7CFD}" dt="2024-10-28T14:43:40.209" v="354" actId="790"/>
          <ac:spMkLst>
            <pc:docMk/>
            <pc:sldMk cId="1022071146" sldId="5154"/>
            <ac:spMk id="24" creationId="{EA992CF0-F97D-F076-9A7A-DB43E7EF8384}"/>
          </ac:spMkLst>
        </pc:spChg>
        <pc:spChg chg="mod">
          <ac:chgData name="Dion3, Alain (SPAC/PSPC) (il-lui / he-him)" userId="b5972ad0-fee1-4393-9fd4-8bc589782ac7" providerId="ADAL" clId="{3ACCABA1-D66F-4904-8251-B355270E7CFD}" dt="2024-10-28T14:43:40.209" v="354" actId="790"/>
          <ac:spMkLst>
            <pc:docMk/>
            <pc:sldMk cId="1022071146" sldId="5154"/>
            <ac:spMk id="25" creationId="{5079FE47-599C-A134-BD23-C4276CD45296}"/>
          </ac:spMkLst>
        </pc:spChg>
        <pc:spChg chg="mod">
          <ac:chgData name="Dion3, Alain (SPAC/PSPC) (il-lui / he-him)" userId="b5972ad0-fee1-4393-9fd4-8bc589782ac7" providerId="ADAL" clId="{3ACCABA1-D66F-4904-8251-B355270E7CFD}" dt="2024-10-28T14:43:40.209" v="354" actId="790"/>
          <ac:spMkLst>
            <pc:docMk/>
            <pc:sldMk cId="1022071146" sldId="5154"/>
            <ac:spMk id="26" creationId="{2D8DBA23-B5AA-7C7E-5352-85936063FD93}"/>
          </ac:spMkLst>
        </pc:spChg>
        <pc:spChg chg="mod">
          <ac:chgData name="Dion3, Alain (SPAC/PSPC) (il-lui / he-him)" userId="b5972ad0-fee1-4393-9fd4-8bc589782ac7" providerId="ADAL" clId="{3ACCABA1-D66F-4904-8251-B355270E7CFD}" dt="2024-10-28T14:43:40.209" v="354" actId="790"/>
          <ac:spMkLst>
            <pc:docMk/>
            <pc:sldMk cId="1022071146" sldId="5154"/>
            <ac:spMk id="27" creationId="{3E44F633-6A18-C683-ECF0-C9ADF10A6E19}"/>
          </ac:spMkLst>
        </pc:spChg>
        <pc:spChg chg="mod">
          <ac:chgData name="Dion3, Alain (SPAC/PSPC) (il-lui / he-him)" userId="b5972ad0-fee1-4393-9fd4-8bc589782ac7" providerId="ADAL" clId="{3ACCABA1-D66F-4904-8251-B355270E7CFD}" dt="2024-10-28T14:43:40.209" v="354" actId="790"/>
          <ac:spMkLst>
            <pc:docMk/>
            <pc:sldMk cId="1022071146" sldId="5154"/>
            <ac:spMk id="28" creationId="{121E2F39-5F17-5BE0-0611-09179169AC61}"/>
          </ac:spMkLst>
        </pc:spChg>
        <pc:spChg chg="mod">
          <ac:chgData name="Dion3, Alain (SPAC/PSPC) (il-lui / he-him)" userId="b5972ad0-fee1-4393-9fd4-8bc589782ac7" providerId="ADAL" clId="{3ACCABA1-D66F-4904-8251-B355270E7CFD}" dt="2024-10-28T14:43:40.209" v="354" actId="790"/>
          <ac:spMkLst>
            <pc:docMk/>
            <pc:sldMk cId="1022071146" sldId="5154"/>
            <ac:spMk id="29" creationId="{12C3754B-981F-6B16-F1BE-8BB0D99D64AF}"/>
          </ac:spMkLst>
        </pc:spChg>
        <pc:spChg chg="mod">
          <ac:chgData name="Dion3, Alain (SPAC/PSPC) (il-lui / he-him)" userId="b5972ad0-fee1-4393-9fd4-8bc589782ac7" providerId="ADAL" clId="{3ACCABA1-D66F-4904-8251-B355270E7CFD}" dt="2024-10-28T14:43:40.209" v="354" actId="790"/>
          <ac:spMkLst>
            <pc:docMk/>
            <pc:sldMk cId="1022071146" sldId="5154"/>
            <ac:spMk id="30" creationId="{A771D895-B308-1CD3-1977-394DE6E698B4}"/>
          </ac:spMkLst>
        </pc:spChg>
        <pc:spChg chg="mod">
          <ac:chgData name="Dion3, Alain (SPAC/PSPC) (il-lui / he-him)" userId="b5972ad0-fee1-4393-9fd4-8bc589782ac7" providerId="ADAL" clId="{3ACCABA1-D66F-4904-8251-B355270E7CFD}" dt="2024-10-28T14:43:40.209" v="354" actId="790"/>
          <ac:spMkLst>
            <pc:docMk/>
            <pc:sldMk cId="1022071146" sldId="5154"/>
            <ac:spMk id="31" creationId="{FF523CDD-A188-0AF8-9753-BA8B4EDA9277}"/>
          </ac:spMkLst>
        </pc:spChg>
        <pc:spChg chg="mod">
          <ac:chgData name="Dion3, Alain (SPAC/PSPC) (il-lui / he-him)" userId="b5972ad0-fee1-4393-9fd4-8bc589782ac7" providerId="ADAL" clId="{3ACCABA1-D66F-4904-8251-B355270E7CFD}" dt="2024-10-28T14:43:40.209" v="354" actId="790"/>
          <ac:spMkLst>
            <pc:docMk/>
            <pc:sldMk cId="1022071146" sldId="5154"/>
            <ac:spMk id="32" creationId="{EFA1AC29-92D2-20E7-13DC-4F7BBD377B89}"/>
          </ac:spMkLst>
        </pc:spChg>
        <pc:spChg chg="mod">
          <ac:chgData name="Dion3, Alain (SPAC/PSPC) (il-lui / he-him)" userId="b5972ad0-fee1-4393-9fd4-8bc589782ac7" providerId="ADAL" clId="{3ACCABA1-D66F-4904-8251-B355270E7CFD}" dt="2024-10-28T14:43:40.209" v="354" actId="790"/>
          <ac:spMkLst>
            <pc:docMk/>
            <pc:sldMk cId="1022071146" sldId="5154"/>
            <ac:spMk id="33" creationId="{17708D04-DFD1-3AA8-5438-2ABED82E0784}"/>
          </ac:spMkLst>
        </pc:spChg>
        <pc:spChg chg="mod">
          <ac:chgData name="Dion3, Alain (SPAC/PSPC) (il-lui / he-him)" userId="b5972ad0-fee1-4393-9fd4-8bc589782ac7" providerId="ADAL" clId="{3ACCABA1-D66F-4904-8251-B355270E7CFD}" dt="2024-10-28T14:43:40.209" v="354" actId="790"/>
          <ac:spMkLst>
            <pc:docMk/>
            <pc:sldMk cId="1022071146" sldId="5154"/>
            <ac:spMk id="34" creationId="{5D52573B-7A52-96DF-FE8D-BDAF691182CA}"/>
          </ac:spMkLst>
        </pc:spChg>
        <pc:spChg chg="mod">
          <ac:chgData name="Dion3, Alain (SPAC/PSPC) (il-lui / he-him)" userId="b5972ad0-fee1-4393-9fd4-8bc589782ac7" providerId="ADAL" clId="{3ACCABA1-D66F-4904-8251-B355270E7CFD}" dt="2024-10-28T14:43:40.209" v="354" actId="790"/>
          <ac:spMkLst>
            <pc:docMk/>
            <pc:sldMk cId="1022071146" sldId="5154"/>
            <ac:spMk id="35" creationId="{CF0739C7-09B9-EB4C-D223-070BF1267B17}"/>
          </ac:spMkLst>
        </pc:spChg>
        <pc:spChg chg="mod">
          <ac:chgData name="Dion3, Alain (SPAC/PSPC) (il-lui / he-him)" userId="b5972ad0-fee1-4393-9fd4-8bc589782ac7" providerId="ADAL" clId="{3ACCABA1-D66F-4904-8251-B355270E7CFD}" dt="2024-10-28T14:43:40.209" v="354" actId="790"/>
          <ac:spMkLst>
            <pc:docMk/>
            <pc:sldMk cId="1022071146" sldId="5154"/>
            <ac:spMk id="36" creationId="{1EBFC678-0DB9-A4EB-AF0F-2895CB3F2C1E}"/>
          </ac:spMkLst>
        </pc:spChg>
        <pc:spChg chg="mod">
          <ac:chgData name="Dion3, Alain (SPAC/PSPC) (il-lui / he-him)" userId="b5972ad0-fee1-4393-9fd4-8bc589782ac7" providerId="ADAL" clId="{3ACCABA1-D66F-4904-8251-B355270E7CFD}" dt="2024-10-28T14:43:40.209" v="354" actId="790"/>
          <ac:spMkLst>
            <pc:docMk/>
            <pc:sldMk cId="1022071146" sldId="5154"/>
            <ac:spMk id="37" creationId="{7E3B3FA9-E209-8C5B-B9BF-1CBC00206948}"/>
          </ac:spMkLst>
        </pc:spChg>
        <pc:spChg chg="mod">
          <ac:chgData name="Dion3, Alain (SPAC/PSPC) (il-lui / he-him)" userId="b5972ad0-fee1-4393-9fd4-8bc589782ac7" providerId="ADAL" clId="{3ACCABA1-D66F-4904-8251-B355270E7CFD}" dt="2024-10-28T14:43:40.209" v="354" actId="790"/>
          <ac:spMkLst>
            <pc:docMk/>
            <pc:sldMk cId="1022071146" sldId="5154"/>
            <ac:spMk id="38" creationId="{B6507E11-EC29-4E46-39AD-4BB6E38FB301}"/>
          </ac:spMkLst>
        </pc:spChg>
        <pc:spChg chg="mod">
          <ac:chgData name="Dion3, Alain (SPAC/PSPC) (il-lui / he-him)" userId="b5972ad0-fee1-4393-9fd4-8bc589782ac7" providerId="ADAL" clId="{3ACCABA1-D66F-4904-8251-B355270E7CFD}" dt="2024-10-28T14:43:40.209" v="354" actId="790"/>
          <ac:spMkLst>
            <pc:docMk/>
            <pc:sldMk cId="1022071146" sldId="5154"/>
            <ac:spMk id="39" creationId="{C7469CDD-D524-16E5-551D-01955F32196C}"/>
          </ac:spMkLst>
        </pc:spChg>
        <pc:spChg chg="mod">
          <ac:chgData name="Dion3, Alain (SPAC/PSPC) (il-lui / he-him)" userId="b5972ad0-fee1-4393-9fd4-8bc589782ac7" providerId="ADAL" clId="{3ACCABA1-D66F-4904-8251-B355270E7CFD}" dt="2024-10-28T14:43:40.209" v="354" actId="790"/>
          <ac:spMkLst>
            <pc:docMk/>
            <pc:sldMk cId="1022071146" sldId="5154"/>
            <ac:spMk id="40" creationId="{F7C5741F-5578-1AF1-4851-0A486B3F686F}"/>
          </ac:spMkLst>
        </pc:spChg>
        <pc:spChg chg="mod">
          <ac:chgData name="Dion3, Alain (SPAC/PSPC) (il-lui / he-him)" userId="b5972ad0-fee1-4393-9fd4-8bc589782ac7" providerId="ADAL" clId="{3ACCABA1-D66F-4904-8251-B355270E7CFD}" dt="2024-10-28T14:43:40.209" v="354" actId="790"/>
          <ac:spMkLst>
            <pc:docMk/>
            <pc:sldMk cId="1022071146" sldId="5154"/>
            <ac:spMk id="41" creationId="{CC7386CC-0505-DBCC-AF06-AFA69ED717C9}"/>
          </ac:spMkLst>
        </pc:spChg>
        <pc:spChg chg="mod">
          <ac:chgData name="Dion3, Alain (SPAC/PSPC) (il-lui / he-him)" userId="b5972ad0-fee1-4393-9fd4-8bc589782ac7" providerId="ADAL" clId="{3ACCABA1-D66F-4904-8251-B355270E7CFD}" dt="2024-10-28T14:43:40.209" v="354" actId="790"/>
          <ac:spMkLst>
            <pc:docMk/>
            <pc:sldMk cId="1022071146" sldId="5154"/>
            <ac:spMk id="42" creationId="{BE4A57EE-E044-A301-EF2C-BED0F57FA70A}"/>
          </ac:spMkLst>
        </pc:spChg>
        <pc:spChg chg="mod">
          <ac:chgData name="Dion3, Alain (SPAC/PSPC) (il-lui / he-him)" userId="b5972ad0-fee1-4393-9fd4-8bc589782ac7" providerId="ADAL" clId="{3ACCABA1-D66F-4904-8251-B355270E7CFD}" dt="2024-10-28T14:43:40.209" v="354" actId="790"/>
          <ac:spMkLst>
            <pc:docMk/>
            <pc:sldMk cId="1022071146" sldId="5154"/>
            <ac:spMk id="43" creationId="{3F3E4707-9FC5-99ED-5D71-20C2D5994A81}"/>
          </ac:spMkLst>
        </pc:spChg>
        <pc:spChg chg="mod">
          <ac:chgData name="Dion3, Alain (SPAC/PSPC) (il-lui / he-him)" userId="b5972ad0-fee1-4393-9fd4-8bc589782ac7" providerId="ADAL" clId="{3ACCABA1-D66F-4904-8251-B355270E7CFD}" dt="2024-10-28T14:43:40.209" v="354" actId="790"/>
          <ac:spMkLst>
            <pc:docMk/>
            <pc:sldMk cId="1022071146" sldId="5154"/>
            <ac:spMk id="44" creationId="{9A8EA917-3A44-7139-87AD-F9EC0728A680}"/>
          </ac:spMkLst>
        </pc:spChg>
        <pc:spChg chg="mod">
          <ac:chgData name="Dion3, Alain (SPAC/PSPC) (il-lui / he-him)" userId="b5972ad0-fee1-4393-9fd4-8bc589782ac7" providerId="ADAL" clId="{3ACCABA1-D66F-4904-8251-B355270E7CFD}" dt="2024-10-28T14:43:40.209" v="354" actId="790"/>
          <ac:spMkLst>
            <pc:docMk/>
            <pc:sldMk cId="1022071146" sldId="5154"/>
            <ac:spMk id="45" creationId="{FFC0B55C-39BF-5CAE-ED00-CF1AAB1A0E5C}"/>
          </ac:spMkLst>
        </pc:spChg>
        <pc:spChg chg="mod">
          <ac:chgData name="Dion3, Alain (SPAC/PSPC) (il-lui / he-him)" userId="b5972ad0-fee1-4393-9fd4-8bc589782ac7" providerId="ADAL" clId="{3ACCABA1-D66F-4904-8251-B355270E7CFD}" dt="2024-10-28T14:43:40.209" v="354" actId="790"/>
          <ac:spMkLst>
            <pc:docMk/>
            <pc:sldMk cId="1022071146" sldId="5154"/>
            <ac:spMk id="46" creationId="{5DD1DF85-5880-3DBC-D19F-84A8C181A8D1}"/>
          </ac:spMkLst>
        </pc:spChg>
        <pc:spChg chg="mod">
          <ac:chgData name="Dion3, Alain (SPAC/PSPC) (il-lui / he-him)" userId="b5972ad0-fee1-4393-9fd4-8bc589782ac7" providerId="ADAL" clId="{3ACCABA1-D66F-4904-8251-B355270E7CFD}" dt="2024-10-28T14:43:40.209" v="354" actId="790"/>
          <ac:spMkLst>
            <pc:docMk/>
            <pc:sldMk cId="1022071146" sldId="5154"/>
            <ac:spMk id="47" creationId="{88299F6F-8805-751B-ADEE-BF0CD75A6124}"/>
          </ac:spMkLst>
        </pc:spChg>
        <pc:spChg chg="mod">
          <ac:chgData name="Dion3, Alain (SPAC/PSPC) (il-lui / he-him)" userId="b5972ad0-fee1-4393-9fd4-8bc589782ac7" providerId="ADAL" clId="{3ACCABA1-D66F-4904-8251-B355270E7CFD}" dt="2024-10-28T14:43:40.209" v="354" actId="790"/>
          <ac:spMkLst>
            <pc:docMk/>
            <pc:sldMk cId="1022071146" sldId="5154"/>
            <ac:spMk id="48" creationId="{CF64522E-403A-03F8-6A2C-40ED44B5E3A5}"/>
          </ac:spMkLst>
        </pc:spChg>
        <pc:spChg chg="mod">
          <ac:chgData name="Dion3, Alain (SPAC/PSPC) (il-lui / he-him)" userId="b5972ad0-fee1-4393-9fd4-8bc589782ac7" providerId="ADAL" clId="{3ACCABA1-D66F-4904-8251-B355270E7CFD}" dt="2024-10-28T14:43:40.209" v="354" actId="790"/>
          <ac:spMkLst>
            <pc:docMk/>
            <pc:sldMk cId="1022071146" sldId="5154"/>
            <ac:spMk id="49" creationId="{91069B41-4C43-24DB-A809-E7DFB1ED4D14}"/>
          </ac:spMkLst>
        </pc:spChg>
        <pc:spChg chg="mod">
          <ac:chgData name="Dion3, Alain (SPAC/PSPC) (il-lui / he-him)" userId="b5972ad0-fee1-4393-9fd4-8bc589782ac7" providerId="ADAL" clId="{3ACCABA1-D66F-4904-8251-B355270E7CFD}" dt="2024-10-28T14:43:40.209" v="354" actId="790"/>
          <ac:spMkLst>
            <pc:docMk/>
            <pc:sldMk cId="1022071146" sldId="5154"/>
            <ac:spMk id="50" creationId="{8B8149E1-0BA5-501B-D6DA-82553AFC8016}"/>
          </ac:spMkLst>
        </pc:spChg>
        <pc:spChg chg="mod">
          <ac:chgData name="Dion3, Alain (SPAC/PSPC) (il-lui / he-him)" userId="b5972ad0-fee1-4393-9fd4-8bc589782ac7" providerId="ADAL" clId="{3ACCABA1-D66F-4904-8251-B355270E7CFD}" dt="2024-10-28T14:43:40.209" v="354" actId="790"/>
          <ac:spMkLst>
            <pc:docMk/>
            <pc:sldMk cId="1022071146" sldId="5154"/>
            <ac:spMk id="51" creationId="{2C429B3A-B535-189D-44AB-C000227A8D66}"/>
          </ac:spMkLst>
        </pc:spChg>
        <pc:spChg chg="mod">
          <ac:chgData name="Dion3, Alain (SPAC/PSPC) (il-lui / he-him)" userId="b5972ad0-fee1-4393-9fd4-8bc589782ac7" providerId="ADAL" clId="{3ACCABA1-D66F-4904-8251-B355270E7CFD}" dt="2024-10-28T14:43:40.209" v="354" actId="790"/>
          <ac:spMkLst>
            <pc:docMk/>
            <pc:sldMk cId="1022071146" sldId="5154"/>
            <ac:spMk id="52" creationId="{03EAD489-B340-22F1-3DE1-27FC20B4E430}"/>
          </ac:spMkLst>
        </pc:spChg>
        <pc:spChg chg="mod">
          <ac:chgData name="Dion3, Alain (SPAC/PSPC) (il-lui / he-him)" userId="b5972ad0-fee1-4393-9fd4-8bc589782ac7" providerId="ADAL" clId="{3ACCABA1-D66F-4904-8251-B355270E7CFD}" dt="2024-10-28T14:43:40.209" v="354" actId="790"/>
          <ac:spMkLst>
            <pc:docMk/>
            <pc:sldMk cId="1022071146" sldId="5154"/>
            <ac:spMk id="53" creationId="{BC7BDEC7-21A8-687C-5FF8-DE2D5E7D5C21}"/>
          </ac:spMkLst>
        </pc:spChg>
        <pc:spChg chg="mod">
          <ac:chgData name="Dion3, Alain (SPAC/PSPC) (il-lui / he-him)" userId="b5972ad0-fee1-4393-9fd4-8bc589782ac7" providerId="ADAL" clId="{3ACCABA1-D66F-4904-8251-B355270E7CFD}" dt="2024-10-28T14:43:40.209" v="354" actId="790"/>
          <ac:spMkLst>
            <pc:docMk/>
            <pc:sldMk cId="1022071146" sldId="5154"/>
            <ac:spMk id="54" creationId="{E5A8D4AB-7BB9-2ADB-170D-5AE12AE11CB3}"/>
          </ac:spMkLst>
        </pc:spChg>
        <pc:spChg chg="mod">
          <ac:chgData name="Dion3, Alain (SPAC/PSPC) (il-lui / he-him)" userId="b5972ad0-fee1-4393-9fd4-8bc589782ac7" providerId="ADAL" clId="{3ACCABA1-D66F-4904-8251-B355270E7CFD}" dt="2024-10-28T14:43:40.209" v="354" actId="790"/>
          <ac:spMkLst>
            <pc:docMk/>
            <pc:sldMk cId="1022071146" sldId="5154"/>
            <ac:spMk id="55" creationId="{DC8FA3CD-28D1-49A1-BC5D-FFAD3A62B81B}"/>
          </ac:spMkLst>
        </pc:spChg>
        <pc:spChg chg="mod">
          <ac:chgData name="Dion3, Alain (SPAC/PSPC) (il-lui / he-him)" userId="b5972ad0-fee1-4393-9fd4-8bc589782ac7" providerId="ADAL" clId="{3ACCABA1-D66F-4904-8251-B355270E7CFD}" dt="2024-10-28T14:43:40.209" v="354" actId="790"/>
          <ac:spMkLst>
            <pc:docMk/>
            <pc:sldMk cId="1022071146" sldId="5154"/>
            <ac:spMk id="56" creationId="{9F4FB8C1-A356-D30E-93D3-683F071FCBE9}"/>
          </ac:spMkLst>
        </pc:spChg>
        <pc:spChg chg="mod">
          <ac:chgData name="Dion3, Alain (SPAC/PSPC) (il-lui / he-him)" userId="b5972ad0-fee1-4393-9fd4-8bc589782ac7" providerId="ADAL" clId="{3ACCABA1-D66F-4904-8251-B355270E7CFD}" dt="2024-10-28T14:43:40.209" v="354" actId="790"/>
          <ac:spMkLst>
            <pc:docMk/>
            <pc:sldMk cId="1022071146" sldId="5154"/>
            <ac:spMk id="57" creationId="{C59489DA-E253-C358-8ABF-D485D1356380}"/>
          </ac:spMkLst>
        </pc:spChg>
        <pc:spChg chg="mod">
          <ac:chgData name="Dion3, Alain (SPAC/PSPC) (il-lui / he-him)" userId="b5972ad0-fee1-4393-9fd4-8bc589782ac7" providerId="ADAL" clId="{3ACCABA1-D66F-4904-8251-B355270E7CFD}" dt="2024-10-28T14:43:40.209" v="354" actId="790"/>
          <ac:spMkLst>
            <pc:docMk/>
            <pc:sldMk cId="1022071146" sldId="5154"/>
            <ac:spMk id="58" creationId="{4BE8A6E3-909C-1ED0-D24B-1794F09C4ECC}"/>
          </ac:spMkLst>
        </pc:spChg>
        <pc:spChg chg="mod">
          <ac:chgData name="Dion3, Alain (SPAC/PSPC) (il-lui / he-him)" userId="b5972ad0-fee1-4393-9fd4-8bc589782ac7" providerId="ADAL" clId="{3ACCABA1-D66F-4904-8251-B355270E7CFD}" dt="2024-10-28T14:43:40.209" v="354" actId="790"/>
          <ac:spMkLst>
            <pc:docMk/>
            <pc:sldMk cId="1022071146" sldId="5154"/>
            <ac:spMk id="59" creationId="{160101F8-D1B5-7A9F-DDE2-14BD9EBC1567}"/>
          </ac:spMkLst>
        </pc:spChg>
        <pc:spChg chg="mod">
          <ac:chgData name="Dion3, Alain (SPAC/PSPC) (il-lui / he-him)" userId="b5972ad0-fee1-4393-9fd4-8bc589782ac7" providerId="ADAL" clId="{3ACCABA1-D66F-4904-8251-B355270E7CFD}" dt="2024-10-28T14:43:40.209" v="354" actId="790"/>
          <ac:spMkLst>
            <pc:docMk/>
            <pc:sldMk cId="1022071146" sldId="5154"/>
            <ac:spMk id="60" creationId="{A4C07864-39AF-05FD-0931-D0AB139277AE}"/>
          </ac:spMkLst>
        </pc:spChg>
        <pc:spChg chg="mod">
          <ac:chgData name="Dion3, Alain (SPAC/PSPC) (il-lui / he-him)" userId="b5972ad0-fee1-4393-9fd4-8bc589782ac7" providerId="ADAL" clId="{3ACCABA1-D66F-4904-8251-B355270E7CFD}" dt="2024-10-28T14:43:40.209" v="354" actId="790"/>
          <ac:spMkLst>
            <pc:docMk/>
            <pc:sldMk cId="1022071146" sldId="5154"/>
            <ac:spMk id="61" creationId="{30BF5EA7-5212-3614-E451-F9F88930001B}"/>
          </ac:spMkLst>
        </pc:spChg>
        <pc:spChg chg="mod">
          <ac:chgData name="Dion3, Alain (SPAC/PSPC) (il-lui / he-him)" userId="b5972ad0-fee1-4393-9fd4-8bc589782ac7" providerId="ADAL" clId="{3ACCABA1-D66F-4904-8251-B355270E7CFD}" dt="2024-10-28T14:43:40.209" v="354" actId="790"/>
          <ac:spMkLst>
            <pc:docMk/>
            <pc:sldMk cId="1022071146" sldId="5154"/>
            <ac:spMk id="62" creationId="{5A4AC6CC-0A70-0090-5EE6-5194EA0EF4BE}"/>
          </ac:spMkLst>
        </pc:spChg>
        <pc:spChg chg="mod">
          <ac:chgData name="Dion3, Alain (SPAC/PSPC) (il-lui / he-him)" userId="b5972ad0-fee1-4393-9fd4-8bc589782ac7" providerId="ADAL" clId="{3ACCABA1-D66F-4904-8251-B355270E7CFD}" dt="2024-10-28T14:43:40.209" v="354" actId="790"/>
          <ac:spMkLst>
            <pc:docMk/>
            <pc:sldMk cId="1022071146" sldId="5154"/>
            <ac:spMk id="63" creationId="{9EF6C6AC-EACC-775A-A522-D3F0B539A731}"/>
          </ac:spMkLst>
        </pc:spChg>
        <pc:spChg chg="mod">
          <ac:chgData name="Dion3, Alain (SPAC/PSPC) (il-lui / he-him)" userId="b5972ad0-fee1-4393-9fd4-8bc589782ac7" providerId="ADAL" clId="{3ACCABA1-D66F-4904-8251-B355270E7CFD}" dt="2024-10-28T14:43:40.209" v="354" actId="790"/>
          <ac:spMkLst>
            <pc:docMk/>
            <pc:sldMk cId="1022071146" sldId="5154"/>
            <ac:spMk id="64" creationId="{753D1356-E641-08F0-A7BF-D43488B0F670}"/>
          </ac:spMkLst>
        </pc:spChg>
        <pc:spChg chg="mod">
          <ac:chgData name="Dion3, Alain (SPAC/PSPC) (il-lui / he-him)" userId="b5972ad0-fee1-4393-9fd4-8bc589782ac7" providerId="ADAL" clId="{3ACCABA1-D66F-4904-8251-B355270E7CFD}" dt="2024-10-28T14:43:40.209" v="354" actId="790"/>
          <ac:spMkLst>
            <pc:docMk/>
            <pc:sldMk cId="1022071146" sldId="5154"/>
            <ac:spMk id="65" creationId="{FC5202A0-3821-48D2-A1FE-93D546BB1D4C}"/>
          </ac:spMkLst>
        </pc:spChg>
        <pc:spChg chg="mod">
          <ac:chgData name="Dion3, Alain (SPAC/PSPC) (il-lui / he-him)" userId="b5972ad0-fee1-4393-9fd4-8bc589782ac7" providerId="ADAL" clId="{3ACCABA1-D66F-4904-8251-B355270E7CFD}" dt="2024-10-28T14:43:40.209" v="354" actId="790"/>
          <ac:spMkLst>
            <pc:docMk/>
            <pc:sldMk cId="1022071146" sldId="5154"/>
            <ac:spMk id="78" creationId="{057E7B1D-D7C7-9460-3484-E41EF154A9B2}"/>
          </ac:spMkLst>
        </pc:spChg>
        <pc:spChg chg="mod">
          <ac:chgData name="Dion3, Alain (SPAC/PSPC) (il-lui / he-him)" userId="b5972ad0-fee1-4393-9fd4-8bc589782ac7" providerId="ADAL" clId="{3ACCABA1-D66F-4904-8251-B355270E7CFD}" dt="2024-10-28T14:43:40.209" v="354" actId="790"/>
          <ac:spMkLst>
            <pc:docMk/>
            <pc:sldMk cId="1022071146" sldId="5154"/>
            <ac:spMk id="79" creationId="{8FCD9700-1C2E-305F-C2D7-D1F22165A204}"/>
          </ac:spMkLst>
        </pc:spChg>
        <pc:spChg chg="mod">
          <ac:chgData name="Dion3, Alain (SPAC/PSPC) (il-lui / he-him)" userId="b5972ad0-fee1-4393-9fd4-8bc589782ac7" providerId="ADAL" clId="{3ACCABA1-D66F-4904-8251-B355270E7CFD}" dt="2024-10-28T14:43:40.209" v="354" actId="790"/>
          <ac:spMkLst>
            <pc:docMk/>
            <pc:sldMk cId="1022071146" sldId="5154"/>
            <ac:spMk id="80" creationId="{AA9F00D5-1806-DACE-5D3E-92DD37C22826}"/>
          </ac:spMkLst>
        </pc:spChg>
        <pc:spChg chg="mod">
          <ac:chgData name="Dion3, Alain (SPAC/PSPC) (il-lui / he-him)" userId="b5972ad0-fee1-4393-9fd4-8bc589782ac7" providerId="ADAL" clId="{3ACCABA1-D66F-4904-8251-B355270E7CFD}" dt="2024-10-28T14:43:40.209" v="354" actId="790"/>
          <ac:spMkLst>
            <pc:docMk/>
            <pc:sldMk cId="1022071146" sldId="5154"/>
            <ac:spMk id="81" creationId="{91B53DBD-4316-9F02-791B-A39F96719240}"/>
          </ac:spMkLst>
        </pc:spChg>
        <pc:spChg chg="mod">
          <ac:chgData name="Dion3, Alain (SPAC/PSPC) (il-lui / he-him)" userId="b5972ad0-fee1-4393-9fd4-8bc589782ac7" providerId="ADAL" clId="{3ACCABA1-D66F-4904-8251-B355270E7CFD}" dt="2024-10-28T14:43:40.209" v="354" actId="790"/>
          <ac:spMkLst>
            <pc:docMk/>
            <pc:sldMk cId="1022071146" sldId="5154"/>
            <ac:spMk id="82" creationId="{6667D5C5-60C1-EF39-A34A-68A894525C14}"/>
          </ac:spMkLst>
        </pc:spChg>
        <pc:spChg chg="mod">
          <ac:chgData name="Dion3, Alain (SPAC/PSPC) (il-lui / he-him)" userId="b5972ad0-fee1-4393-9fd4-8bc589782ac7" providerId="ADAL" clId="{3ACCABA1-D66F-4904-8251-B355270E7CFD}" dt="2024-10-28T14:43:40.209" v="354" actId="790"/>
          <ac:spMkLst>
            <pc:docMk/>
            <pc:sldMk cId="1022071146" sldId="5154"/>
            <ac:spMk id="83" creationId="{BD636ECB-7C44-CBB6-D835-F5EEC0FDB5E7}"/>
          </ac:spMkLst>
        </pc:spChg>
        <pc:spChg chg="mod">
          <ac:chgData name="Dion3, Alain (SPAC/PSPC) (il-lui / he-him)" userId="b5972ad0-fee1-4393-9fd4-8bc589782ac7" providerId="ADAL" clId="{3ACCABA1-D66F-4904-8251-B355270E7CFD}" dt="2024-10-28T14:43:40.209" v="354" actId="790"/>
          <ac:spMkLst>
            <pc:docMk/>
            <pc:sldMk cId="1022071146" sldId="5154"/>
            <ac:spMk id="84" creationId="{2B0328CC-C16A-56CA-D000-EA18226D76E5}"/>
          </ac:spMkLst>
        </pc:spChg>
        <pc:spChg chg="mod">
          <ac:chgData name="Dion3, Alain (SPAC/PSPC) (il-lui / he-him)" userId="b5972ad0-fee1-4393-9fd4-8bc589782ac7" providerId="ADAL" clId="{3ACCABA1-D66F-4904-8251-B355270E7CFD}" dt="2024-10-28T14:43:40.209" v="354" actId="790"/>
          <ac:spMkLst>
            <pc:docMk/>
            <pc:sldMk cId="1022071146" sldId="5154"/>
            <ac:spMk id="85" creationId="{5BF43345-89A2-8BD1-AAB5-685CC2838D7D}"/>
          </ac:spMkLst>
        </pc:spChg>
        <pc:spChg chg="mod">
          <ac:chgData name="Dion3, Alain (SPAC/PSPC) (il-lui / he-him)" userId="b5972ad0-fee1-4393-9fd4-8bc589782ac7" providerId="ADAL" clId="{3ACCABA1-D66F-4904-8251-B355270E7CFD}" dt="2024-10-28T14:43:40.209" v="354" actId="790"/>
          <ac:spMkLst>
            <pc:docMk/>
            <pc:sldMk cId="1022071146" sldId="5154"/>
            <ac:spMk id="86" creationId="{36F3A7BC-2D1A-741B-822A-079CEF79C39F}"/>
          </ac:spMkLst>
        </pc:spChg>
        <pc:spChg chg="mod">
          <ac:chgData name="Dion3, Alain (SPAC/PSPC) (il-lui / he-him)" userId="b5972ad0-fee1-4393-9fd4-8bc589782ac7" providerId="ADAL" clId="{3ACCABA1-D66F-4904-8251-B355270E7CFD}" dt="2024-10-28T14:43:40.209" v="354" actId="790"/>
          <ac:spMkLst>
            <pc:docMk/>
            <pc:sldMk cId="1022071146" sldId="5154"/>
            <ac:spMk id="87" creationId="{A98FC754-5F9D-A6AB-8070-6E366FA59DE0}"/>
          </ac:spMkLst>
        </pc:spChg>
        <pc:spChg chg="mod">
          <ac:chgData name="Dion3, Alain (SPAC/PSPC) (il-lui / he-him)" userId="b5972ad0-fee1-4393-9fd4-8bc589782ac7" providerId="ADAL" clId="{3ACCABA1-D66F-4904-8251-B355270E7CFD}" dt="2024-10-28T14:43:40.209" v="354" actId="790"/>
          <ac:spMkLst>
            <pc:docMk/>
            <pc:sldMk cId="1022071146" sldId="5154"/>
            <ac:spMk id="88" creationId="{A6684F48-A2FE-496D-6BD2-6AF0B6FF503C}"/>
          </ac:spMkLst>
        </pc:spChg>
        <pc:spChg chg="mod">
          <ac:chgData name="Dion3, Alain (SPAC/PSPC) (il-lui / he-him)" userId="b5972ad0-fee1-4393-9fd4-8bc589782ac7" providerId="ADAL" clId="{3ACCABA1-D66F-4904-8251-B355270E7CFD}" dt="2024-10-28T14:43:40.209" v="354" actId="790"/>
          <ac:spMkLst>
            <pc:docMk/>
            <pc:sldMk cId="1022071146" sldId="5154"/>
            <ac:spMk id="89" creationId="{CF1A0002-EC31-0B3E-FF8A-584706C6E1CD}"/>
          </ac:spMkLst>
        </pc:spChg>
        <pc:grpChg chg="replST">
          <ac:chgData name="Dion3, Alain (SPAC/PSPC) (il-lui / he-him)" userId="b5972ad0-fee1-4393-9fd4-8bc589782ac7" providerId="ADAL" clId="{3ACCABA1-D66F-4904-8251-B355270E7CFD}" dt="2024-10-28T13:31:14.508" v="79"/>
          <ac:grpSpMkLst>
            <pc:docMk/>
            <pc:sldMk cId="1022071146" sldId="5154"/>
            <ac:grpSpMk id="6" creationId="{416113E3-E9F4-0DEB-3045-FDE7ADC4CA45}"/>
          </ac:grpSpMkLst>
        </pc:grpChg>
        <pc:picChg chg="replST">
          <ac:chgData name="Dion3, Alain (SPAC/PSPC) (il-lui / he-him)" userId="b5972ad0-fee1-4393-9fd4-8bc589782ac7" providerId="ADAL" clId="{3ACCABA1-D66F-4904-8251-B355270E7CFD}" dt="2024-10-28T13:31:14.502" v="78"/>
          <ac:picMkLst>
            <pc:docMk/>
            <pc:sldMk cId="1022071146" sldId="5154"/>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46:34.996" v="392"/>
              <pc2:cmMkLst xmlns:pc2="http://schemas.microsoft.com/office/powerpoint/2019/9/main/command">
                <pc:docMk/>
                <pc:sldMk cId="1022071146" sldId="5154"/>
                <pc2:cmMk id="{90626A41-4D1B-4755-A8E7-7F76F967625F}"/>
              </pc2:cmMkLst>
              <pc226:cmRplyChg chg="add">
                <pc226:chgData name="Dion3, Alain (SPAC/PSPC) (il-lui / he-him)" userId="b5972ad0-fee1-4393-9fd4-8bc589782ac7" providerId="ADAL" clId="{3ACCABA1-D66F-4904-8251-B355270E7CFD}" dt="2024-10-28T14:45:41.433" v="391"/>
                <pc2:cmRplyMkLst xmlns:pc2="http://schemas.microsoft.com/office/powerpoint/2019/9/main/command">
                  <pc:docMk/>
                  <pc:sldMk cId="1022071146" sldId="5154"/>
                  <pc2:cmMk id="{90626A41-4D1B-4755-A8E7-7F76F967625F}"/>
                  <pc2:cmRplyMk id="{F651E160-2270-4CD9-B9FC-72EBF03C3E0B}"/>
                </pc2:cmRplyMkLst>
              </pc226:cmRplyChg>
            </pc226:cmChg>
          </p:ext>
        </pc:extLst>
      </pc:sldChg>
      <pc:sldChg chg="modSp mod addCm modCm modNotes modNotesTx">
        <pc:chgData name="Dion3, Alain (SPAC/PSPC) (il-lui / he-him)" userId="b5972ad0-fee1-4393-9fd4-8bc589782ac7" providerId="ADAL" clId="{3ACCABA1-D66F-4904-8251-B355270E7CFD}" dt="2024-10-28T14:56:27.896" v="511" actId="313"/>
        <pc:sldMkLst>
          <pc:docMk/>
          <pc:sldMk cId="127833343" sldId="5156"/>
        </pc:sldMkLst>
        <pc:spChg chg="replST">
          <ac:chgData name="Dion3, Alain (SPAC/PSPC) (il-lui / he-him)" userId="b5972ad0-fee1-4393-9fd4-8bc589782ac7" providerId="ADAL" clId="{3ACCABA1-D66F-4904-8251-B355270E7CFD}" dt="2024-10-28T13:31:14.515" v="80"/>
          <ac:spMkLst>
            <pc:docMk/>
            <pc:sldMk cId="127833343" sldId="5156"/>
            <ac:spMk id="2" creationId="{0DA1C67A-4FAB-556C-5C8D-241597F9DA1B}"/>
          </ac:spMkLst>
        </pc:spChg>
        <pc:spChg chg="replST">
          <ac:chgData name="Dion3, Alain (SPAC/PSPC) (il-lui / he-him)" userId="b5972ad0-fee1-4393-9fd4-8bc589782ac7" providerId="ADAL" clId="{3ACCABA1-D66F-4904-8251-B355270E7CFD}" dt="2024-10-28T13:31:14.520" v="81"/>
          <ac:spMkLst>
            <pc:docMk/>
            <pc:sldMk cId="127833343" sldId="5156"/>
            <ac:spMk id="4" creationId="{6E84A27E-2844-316E-6672-1236545BDBDC}"/>
          </ac:spMkLst>
        </pc:spChg>
        <pc:graphicFrameChg chg="replST">
          <ac:chgData name="Dion3, Alain (SPAC/PSPC) (il-lui / he-him)" userId="b5972ad0-fee1-4393-9fd4-8bc589782ac7" providerId="ADAL" clId="{3ACCABA1-D66F-4904-8251-B355270E7CFD}" dt="2024-10-28T13:31:14.532" v="83"/>
          <ac:graphicFrameMkLst>
            <pc:docMk/>
            <pc:sldMk cId="127833343" sldId="5156"/>
            <ac:graphicFrameMk id="17" creationId="{C41D58B7-6B00-125B-22E9-8018C129AE87}"/>
          </ac:graphicFrameMkLst>
        </pc:graphicFrameChg>
        <pc:picChg chg="replST">
          <ac:chgData name="Dion3, Alain (SPAC/PSPC) (il-lui / he-him)" userId="b5972ad0-fee1-4393-9fd4-8bc589782ac7" providerId="ADAL" clId="{3ACCABA1-D66F-4904-8251-B355270E7CFD}" dt="2024-10-28T13:31:14.526" v="82"/>
          <ac:picMkLst>
            <pc:docMk/>
            <pc:sldMk cId="127833343" sldId="5156"/>
            <ac:picMk id="3" creationId="{FA486D70-CC58-8A4B-29FE-3602F3FC2401}"/>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4:50:25.701" v="454"/>
              <pc2:cmMkLst xmlns:pc2="http://schemas.microsoft.com/office/powerpoint/2019/9/main/command">
                <pc:docMk/>
                <pc:sldMk cId="127833343" sldId="5156"/>
                <pc2:cmMk id="{F606A351-743E-4B21-AEA4-28542AF9593B}"/>
              </pc2:cmMkLst>
            </pc226:cmChg>
            <pc226:cmChg xmlns:pc226="http://schemas.microsoft.com/office/powerpoint/2022/06/main/command" chg="add mod">
              <pc226:chgData name="Dion3, Alain (SPAC/PSPC) (il-lui / he-him)" userId="b5972ad0-fee1-4393-9fd4-8bc589782ac7" providerId="ADAL" clId="{3ACCABA1-D66F-4904-8251-B355270E7CFD}" dt="2024-10-28T14:54:55.769" v="488"/>
              <pc2:cmMkLst xmlns:pc2="http://schemas.microsoft.com/office/powerpoint/2019/9/main/command">
                <pc:docMk/>
                <pc:sldMk cId="127833343" sldId="5156"/>
                <pc2:cmMk id="{D92B9589-F440-4DF9-AD5F-E3365BD34DC1}"/>
              </pc2:cmMkLst>
            </pc226:cmChg>
            <pc226:cmChg xmlns:pc226="http://schemas.microsoft.com/office/powerpoint/2022/06/main/command" chg="add">
              <pc226:chgData name="Dion3, Alain (SPAC/PSPC) (il-lui / he-him)" userId="b5972ad0-fee1-4393-9fd4-8bc589782ac7" providerId="ADAL" clId="{3ACCABA1-D66F-4904-8251-B355270E7CFD}" dt="2024-10-28T14:52:50.579" v="485"/>
              <pc2:cmMkLst xmlns:pc2="http://schemas.microsoft.com/office/powerpoint/2019/9/main/command">
                <pc:docMk/>
                <pc:sldMk cId="127833343" sldId="5156"/>
                <pc2:cmMk id="{D3231298-DF8E-44CE-8420-26FC556B1B52}"/>
              </pc2:cmMkLst>
            </pc226:cmChg>
            <pc226:cmChg xmlns:pc226="http://schemas.microsoft.com/office/powerpoint/2022/06/main/command" chg="add">
              <pc226:chgData name="Dion3, Alain (SPAC/PSPC) (il-lui / he-him)" userId="b5972ad0-fee1-4393-9fd4-8bc589782ac7" providerId="ADAL" clId="{3ACCABA1-D66F-4904-8251-B355270E7CFD}" dt="2024-10-28T14:51:35.723" v="455"/>
              <pc2:cmMkLst xmlns:pc2="http://schemas.microsoft.com/office/powerpoint/2019/9/main/command">
                <pc:docMk/>
                <pc:sldMk cId="127833343" sldId="5156"/>
                <pc2:cmMk id="{136D97A2-F13C-4833-83D9-7FAD2EF41064}"/>
              </pc2:cmMkLst>
            </pc226:cmChg>
            <pc226:cmChg xmlns:pc226="http://schemas.microsoft.com/office/powerpoint/2022/06/main/command" chg="add">
              <pc226:chgData name="Dion3, Alain (SPAC/PSPC) (il-lui / he-him)" userId="b5972ad0-fee1-4393-9fd4-8bc589782ac7" providerId="ADAL" clId="{3ACCABA1-D66F-4904-8251-B355270E7CFD}" dt="2024-10-28T14:48:22.868" v="453"/>
              <pc2:cmMkLst xmlns:pc2="http://schemas.microsoft.com/office/powerpoint/2019/9/main/command">
                <pc:docMk/>
                <pc:sldMk cId="127833343" sldId="5156"/>
                <pc2:cmMk id="{B86F3CA6-6762-47C6-935C-E7B2EE3CEF4A}"/>
              </pc2:cmMkLst>
            </pc226:cmChg>
          </p:ext>
        </pc:extLst>
      </pc:sldChg>
      <pc:sldChg chg="modSp mod modNotesTx">
        <pc:chgData name="Dion3, Alain (SPAC/PSPC) (il-lui / he-him)" userId="b5972ad0-fee1-4393-9fd4-8bc589782ac7" providerId="ADAL" clId="{3ACCABA1-D66F-4904-8251-B355270E7CFD}" dt="2024-10-28T14:42:39.281" v="353" actId="20577"/>
        <pc:sldMkLst>
          <pc:docMk/>
          <pc:sldMk cId="1906248257" sldId="5157"/>
        </pc:sldMkLst>
        <pc:spChg chg="mod replST">
          <ac:chgData name="Dion3, Alain (SPAC/PSPC) (il-lui / he-him)" userId="b5972ad0-fee1-4393-9fd4-8bc589782ac7" providerId="ADAL" clId="{3ACCABA1-D66F-4904-8251-B355270E7CFD}" dt="2024-10-28T14:40:16.565" v="311" actId="790"/>
          <ac:spMkLst>
            <pc:docMk/>
            <pc:sldMk cId="1906248257" sldId="5157"/>
            <ac:spMk id="2" creationId="{E2A90173-C9BE-15AB-2F1B-343129698A10}"/>
          </ac:spMkLst>
        </pc:spChg>
        <pc:spChg chg="mod replST">
          <ac:chgData name="Dion3, Alain (SPAC/PSPC) (il-lui / he-him)" userId="b5972ad0-fee1-4393-9fd4-8bc589782ac7" providerId="ADAL" clId="{3ACCABA1-D66F-4904-8251-B355270E7CFD}" dt="2024-10-28T14:40:31.755" v="312" actId="313"/>
          <ac:spMkLst>
            <pc:docMk/>
            <pc:sldMk cId="1906248257" sldId="5157"/>
            <ac:spMk id="3" creationId="{7A78167E-F052-C9E8-04C8-15DFB9851FEC}"/>
          </ac:spMkLst>
        </pc:spChg>
        <pc:spChg chg="mod replST">
          <ac:chgData name="Dion3, Alain (SPAC/PSPC) (il-lui / he-him)" userId="b5972ad0-fee1-4393-9fd4-8bc589782ac7" providerId="ADAL" clId="{3ACCABA1-D66F-4904-8251-B355270E7CFD}" dt="2024-10-28T14:40:16.565" v="311" actId="790"/>
          <ac:spMkLst>
            <pc:docMk/>
            <pc:sldMk cId="1906248257" sldId="5157"/>
            <ac:spMk id="5" creationId="{990E4937-9203-80F1-1D3B-46A2B6309F3A}"/>
          </ac:spMkLst>
        </pc:spChg>
        <pc:spChg chg="mod replST">
          <ac:chgData name="Dion3, Alain (SPAC/PSPC) (il-lui / he-him)" userId="b5972ad0-fee1-4393-9fd4-8bc589782ac7" providerId="ADAL" clId="{3ACCABA1-D66F-4904-8251-B355270E7CFD}" dt="2024-10-28T14:40:16.565" v="311" actId="790"/>
          <ac:spMkLst>
            <pc:docMk/>
            <pc:sldMk cId="1906248257" sldId="5157"/>
            <ac:spMk id="7" creationId="{CC2D8B5B-DD81-8C68-A503-6C536867FD7F}"/>
          </ac:spMkLst>
        </pc:spChg>
        <pc:spChg chg="mod replST">
          <ac:chgData name="Dion3, Alain (SPAC/PSPC) (il-lui / he-him)" userId="b5972ad0-fee1-4393-9fd4-8bc589782ac7" providerId="ADAL" clId="{3ACCABA1-D66F-4904-8251-B355270E7CFD}" dt="2024-10-28T14:40:16.565" v="311" actId="790"/>
          <ac:spMkLst>
            <pc:docMk/>
            <pc:sldMk cId="1906248257" sldId="5157"/>
            <ac:spMk id="12" creationId="{79E5A377-DAE4-753B-F5E9-24A86950F8FE}"/>
          </ac:spMkLst>
        </pc:spChg>
        <pc:spChg chg="mod replST">
          <ac:chgData name="Dion3, Alain (SPAC/PSPC) (il-lui / he-him)" userId="b5972ad0-fee1-4393-9fd4-8bc589782ac7" providerId="ADAL" clId="{3ACCABA1-D66F-4904-8251-B355270E7CFD}" dt="2024-10-28T14:40:16.565" v="311" actId="790"/>
          <ac:spMkLst>
            <pc:docMk/>
            <pc:sldMk cId="1906248257" sldId="5157"/>
            <ac:spMk id="13" creationId="{D0C12D73-8CDE-B900-CBD1-6FC806D83D2C}"/>
          </ac:spMkLst>
        </pc:spChg>
        <pc:picChg chg="replST">
          <ac:chgData name="Dion3, Alain (SPAC/PSPC) (il-lui / he-him)" userId="b5972ad0-fee1-4393-9fd4-8bc589782ac7" providerId="ADAL" clId="{3ACCABA1-D66F-4904-8251-B355270E7CFD}" dt="2024-10-28T13:31:14.455" v="70"/>
          <ac:picMkLst>
            <pc:docMk/>
            <pc:sldMk cId="1906248257" sldId="5157"/>
            <ac:picMk id="4" creationId="{D4402F8A-8A9E-5164-5B84-3A9EF2641609}"/>
          </ac:picMkLst>
        </pc:picChg>
        <pc:picChg chg="replST">
          <ac:chgData name="Dion3, Alain (SPAC/PSPC) (il-lui / he-him)" userId="b5972ad0-fee1-4393-9fd4-8bc589782ac7" providerId="ADAL" clId="{3ACCABA1-D66F-4904-8251-B355270E7CFD}" dt="2024-10-28T13:31:14.461" v="71"/>
          <ac:picMkLst>
            <pc:docMk/>
            <pc:sldMk cId="1906248257" sldId="5157"/>
            <ac:picMk id="6" creationId="{185AE60D-63D0-0E73-0759-4A42E0272CBF}"/>
          </ac:picMkLst>
        </pc:picChg>
      </pc:sldChg>
      <pc:sldChg chg="modSp mod addCm modCm">
        <pc:chgData name="Dion3, Alain (SPAC/PSPC) (il-lui / he-him)" userId="b5972ad0-fee1-4393-9fd4-8bc589782ac7" providerId="ADAL" clId="{3ACCABA1-D66F-4904-8251-B355270E7CFD}" dt="2024-10-28T14:23:52.103" v="270"/>
        <pc:sldMkLst>
          <pc:docMk/>
          <pc:sldMk cId="1455389328" sldId="5161"/>
        </pc:sldMkLst>
        <pc:spChg chg="mod replST">
          <ac:chgData name="Dion3, Alain (SPAC/PSPC) (il-lui / he-him)" userId="b5972ad0-fee1-4393-9fd4-8bc589782ac7" providerId="ADAL" clId="{3ACCABA1-D66F-4904-8251-B355270E7CFD}" dt="2024-10-28T14:22:38.448" v="266" actId="790"/>
          <ac:spMkLst>
            <pc:docMk/>
            <pc:sldMk cId="1455389328" sldId="5161"/>
            <ac:spMk id="2" creationId="{E2A90173-C9BE-15AB-2F1B-343129698A10}"/>
          </ac:spMkLst>
        </pc:spChg>
        <pc:spChg chg="mod replST">
          <ac:chgData name="Dion3, Alain (SPAC/PSPC) (il-lui / he-him)" userId="b5972ad0-fee1-4393-9fd4-8bc589782ac7" providerId="ADAL" clId="{3ACCABA1-D66F-4904-8251-B355270E7CFD}" dt="2024-10-28T14:22:45.026" v="268" actId="20577"/>
          <ac:spMkLst>
            <pc:docMk/>
            <pc:sldMk cId="1455389328" sldId="5161"/>
            <ac:spMk id="3" creationId="{7A78167E-F052-C9E8-04C8-15DFB9851FEC}"/>
          </ac:spMkLst>
        </pc:spChg>
        <pc:spChg chg="mod replST">
          <ac:chgData name="Dion3, Alain (SPAC/PSPC) (il-lui / he-him)" userId="b5972ad0-fee1-4393-9fd4-8bc589782ac7" providerId="ADAL" clId="{3ACCABA1-D66F-4904-8251-B355270E7CFD}" dt="2024-10-28T14:22:38.448" v="266" actId="790"/>
          <ac:spMkLst>
            <pc:docMk/>
            <pc:sldMk cId="1455389328" sldId="5161"/>
            <ac:spMk id="5" creationId="{990E4937-9203-80F1-1D3B-46A2B6309F3A}"/>
          </ac:spMkLst>
        </pc:spChg>
        <pc:picChg chg="replST">
          <ac:chgData name="Dion3, Alain (SPAC/PSPC) (il-lui / he-him)" userId="b5972ad0-fee1-4393-9fd4-8bc589782ac7" providerId="ADAL" clId="{3ACCABA1-D66F-4904-8251-B355270E7CFD}" dt="2024-10-28T13:31:14.385" v="60"/>
          <ac:picMkLst>
            <pc:docMk/>
            <pc:sldMk cId="1455389328" sldId="5161"/>
            <ac:picMk id="4" creationId="{D4402F8A-8A9E-5164-5B84-3A9EF2641609}"/>
          </ac:picMkLst>
        </pc:picChg>
        <pc:extLst>
          <p:ext xmlns:p="http://schemas.openxmlformats.org/presentationml/2006/main" uri="{D6D511B9-2390-475A-947B-AFAB55BFBCF1}">
            <pc226:cmChg xmlns:pc226="http://schemas.microsoft.com/office/powerpoint/2022/06/main/command" chg="add mod">
              <pc226:chgData name="Dion3, Alain (SPAC/PSPC) (il-lui / he-him)" userId="b5972ad0-fee1-4393-9fd4-8bc589782ac7" providerId="ADAL" clId="{3ACCABA1-D66F-4904-8251-B355270E7CFD}" dt="2024-10-28T14:23:52.103" v="270"/>
              <pc2:cmMkLst xmlns:pc2="http://schemas.microsoft.com/office/powerpoint/2019/9/main/command">
                <pc:docMk/>
                <pc:sldMk cId="1455389328" sldId="5161"/>
                <pc2:cmMk id="{C7F2A920-AA00-4BFC-B913-A16A62B0C314}"/>
              </pc2:cmMkLst>
            </pc226:cmChg>
          </p:ext>
        </pc:extLst>
      </pc:sldChg>
      <pc:sldChg chg="modSp mod">
        <pc:chgData name="Dion3, Alain (SPAC/PSPC) (il-lui / he-him)" userId="b5972ad0-fee1-4393-9fd4-8bc589782ac7" providerId="ADAL" clId="{3ACCABA1-D66F-4904-8251-B355270E7CFD}" dt="2024-10-28T13:31:51.108" v="151" actId="790"/>
        <pc:sldMkLst>
          <pc:docMk/>
          <pc:sldMk cId="630006528" sldId="5162"/>
        </pc:sldMkLst>
        <pc:spChg chg="mod replST">
          <ac:chgData name="Dion3, Alain (SPAC/PSPC) (il-lui / he-him)" userId="b5972ad0-fee1-4393-9fd4-8bc589782ac7" providerId="ADAL" clId="{3ACCABA1-D66F-4904-8251-B355270E7CFD}" dt="2024-10-28T13:31:51.108" v="151" actId="790"/>
          <ac:spMkLst>
            <pc:docMk/>
            <pc:sldMk cId="630006528" sldId="5162"/>
            <ac:spMk id="2" creationId="{E2A90173-C9BE-15AB-2F1B-343129698A10}"/>
          </ac:spMkLst>
        </pc:spChg>
        <pc:spChg chg="mod replST">
          <ac:chgData name="Dion3, Alain (SPAC/PSPC) (il-lui / he-him)" userId="b5972ad0-fee1-4393-9fd4-8bc589782ac7" providerId="ADAL" clId="{3ACCABA1-D66F-4904-8251-B355270E7CFD}" dt="2024-10-28T13:31:51.108" v="151" actId="790"/>
          <ac:spMkLst>
            <pc:docMk/>
            <pc:sldMk cId="630006528" sldId="5162"/>
            <ac:spMk id="3" creationId="{7A78167E-F052-C9E8-04C8-15DFB9851FEC}"/>
          </ac:spMkLst>
        </pc:spChg>
        <pc:spChg chg="mod replST">
          <ac:chgData name="Dion3, Alain (SPAC/PSPC) (il-lui / he-him)" userId="b5972ad0-fee1-4393-9fd4-8bc589782ac7" providerId="ADAL" clId="{3ACCABA1-D66F-4904-8251-B355270E7CFD}" dt="2024-10-28T13:31:51.108" v="151" actId="790"/>
          <ac:spMkLst>
            <pc:docMk/>
            <pc:sldMk cId="630006528" sldId="5162"/>
            <ac:spMk id="5" creationId="{990E4937-9203-80F1-1D3B-46A2B6309F3A}"/>
          </ac:spMkLst>
        </pc:spChg>
        <pc:picChg chg="replST">
          <ac:chgData name="Dion3, Alain (SPAC/PSPC) (il-lui / he-him)" userId="b5972ad0-fee1-4393-9fd4-8bc589782ac7" providerId="ADAL" clId="{3ACCABA1-D66F-4904-8251-B355270E7CFD}" dt="2024-10-28T13:31:14.103" v="17"/>
          <ac:picMkLst>
            <pc:docMk/>
            <pc:sldMk cId="630006528" sldId="5162"/>
            <ac:picMk id="4" creationId="{D4402F8A-8A9E-5164-5B84-3A9EF2641609}"/>
          </ac:picMkLst>
        </pc:picChg>
      </pc:sldChg>
      <pc:sldChg chg="modSp mod">
        <pc:chgData name="Dion3, Alain (SPAC/PSPC) (il-lui / he-him)" userId="b5972ad0-fee1-4393-9fd4-8bc589782ac7" providerId="ADAL" clId="{3ACCABA1-D66F-4904-8251-B355270E7CFD}" dt="2024-10-28T14:57:23.339" v="532" actId="20577"/>
        <pc:sldMkLst>
          <pc:docMk/>
          <pc:sldMk cId="416905842" sldId="5163"/>
        </pc:sldMkLst>
        <pc:spChg chg="mod replST">
          <ac:chgData name="Dion3, Alain (SPAC/PSPC) (il-lui / he-him)" userId="b5972ad0-fee1-4393-9fd4-8bc589782ac7" providerId="ADAL" clId="{3ACCABA1-D66F-4904-8251-B355270E7CFD}" dt="2024-10-28T14:57:04.774" v="512" actId="790"/>
          <ac:spMkLst>
            <pc:docMk/>
            <pc:sldMk cId="416905842" sldId="5163"/>
            <ac:spMk id="2" creationId="{0DA1C67A-4FAB-556C-5C8D-241597F9DA1B}"/>
          </ac:spMkLst>
        </pc:spChg>
        <pc:spChg chg="mod replST">
          <ac:chgData name="Dion3, Alain (SPAC/PSPC) (il-lui / he-him)" userId="b5972ad0-fee1-4393-9fd4-8bc589782ac7" providerId="ADAL" clId="{3ACCABA1-D66F-4904-8251-B355270E7CFD}" dt="2024-10-28T14:57:04.774" v="512" actId="790"/>
          <ac:spMkLst>
            <pc:docMk/>
            <pc:sldMk cId="416905842" sldId="5163"/>
            <ac:spMk id="4" creationId="{6E84A27E-2844-316E-6672-1236545BDBDC}"/>
          </ac:spMkLst>
        </pc:spChg>
        <pc:spChg chg="mod replST">
          <ac:chgData name="Dion3, Alain (SPAC/PSPC) (il-lui / he-him)" userId="b5972ad0-fee1-4393-9fd4-8bc589782ac7" providerId="ADAL" clId="{3ACCABA1-D66F-4904-8251-B355270E7CFD}" dt="2024-10-28T14:57:04.774" v="512" actId="790"/>
          <ac:spMkLst>
            <pc:docMk/>
            <pc:sldMk cId="416905842" sldId="5163"/>
            <ac:spMk id="5" creationId="{A4374EFD-96BA-20EC-CC27-A13CEB0C6400}"/>
          </ac:spMkLst>
        </pc:spChg>
        <pc:spChg chg="mod replST">
          <ac:chgData name="Dion3, Alain (SPAC/PSPC) (il-lui / he-him)" userId="b5972ad0-fee1-4393-9fd4-8bc589782ac7" providerId="ADAL" clId="{3ACCABA1-D66F-4904-8251-B355270E7CFD}" dt="2024-10-28T14:57:04.774" v="512" actId="790"/>
          <ac:spMkLst>
            <pc:docMk/>
            <pc:sldMk cId="416905842" sldId="5163"/>
            <ac:spMk id="6" creationId="{1EEE46AB-E199-BFF5-8717-7CE4227F668E}"/>
          </ac:spMkLst>
        </pc:spChg>
        <pc:spChg chg="mod replST">
          <ac:chgData name="Dion3, Alain (SPAC/PSPC) (il-lui / he-him)" userId="b5972ad0-fee1-4393-9fd4-8bc589782ac7" providerId="ADAL" clId="{3ACCABA1-D66F-4904-8251-B355270E7CFD}" dt="2024-10-28T14:57:04.774" v="512" actId="790"/>
          <ac:spMkLst>
            <pc:docMk/>
            <pc:sldMk cId="416905842" sldId="5163"/>
            <ac:spMk id="7" creationId="{F6FC4EB5-6A97-F3B8-AEBA-5B4EDA1C15B9}"/>
          </ac:spMkLst>
        </pc:spChg>
        <pc:spChg chg="mod replST">
          <ac:chgData name="Dion3, Alain (SPAC/PSPC) (il-lui / he-him)" userId="b5972ad0-fee1-4393-9fd4-8bc589782ac7" providerId="ADAL" clId="{3ACCABA1-D66F-4904-8251-B355270E7CFD}" dt="2024-10-28T14:57:04.774" v="512" actId="790"/>
          <ac:spMkLst>
            <pc:docMk/>
            <pc:sldMk cId="416905842" sldId="5163"/>
            <ac:spMk id="9" creationId="{92F5A39C-7194-FD3B-3DAF-BF8DE677C204}"/>
          </ac:spMkLst>
        </pc:spChg>
        <pc:spChg chg="mod replST">
          <ac:chgData name="Dion3, Alain (SPAC/PSPC) (il-lui / he-him)" userId="b5972ad0-fee1-4393-9fd4-8bc589782ac7" providerId="ADAL" clId="{3ACCABA1-D66F-4904-8251-B355270E7CFD}" dt="2024-10-28T14:57:04.774" v="512" actId="790"/>
          <ac:spMkLst>
            <pc:docMk/>
            <pc:sldMk cId="416905842" sldId="5163"/>
            <ac:spMk id="10" creationId="{64B9E736-275C-70FF-647F-AD66A2CAF66F}"/>
          </ac:spMkLst>
        </pc:spChg>
        <pc:spChg chg="mod replST">
          <ac:chgData name="Dion3, Alain (SPAC/PSPC) (il-lui / he-him)" userId="b5972ad0-fee1-4393-9fd4-8bc589782ac7" providerId="ADAL" clId="{3ACCABA1-D66F-4904-8251-B355270E7CFD}" dt="2024-10-28T14:57:04.774" v="512" actId="790"/>
          <ac:spMkLst>
            <pc:docMk/>
            <pc:sldMk cId="416905842" sldId="5163"/>
            <ac:spMk id="11" creationId="{801E6EFE-3786-B503-900D-AB1C052C5DC7}"/>
          </ac:spMkLst>
        </pc:spChg>
        <pc:spChg chg="mod replST">
          <ac:chgData name="Dion3, Alain (SPAC/PSPC) (il-lui / he-him)" userId="b5972ad0-fee1-4393-9fd4-8bc589782ac7" providerId="ADAL" clId="{3ACCABA1-D66F-4904-8251-B355270E7CFD}" dt="2024-10-28T14:57:04.774" v="512" actId="790"/>
          <ac:spMkLst>
            <pc:docMk/>
            <pc:sldMk cId="416905842" sldId="5163"/>
            <ac:spMk id="12" creationId="{5A496BE1-88E1-E380-0EE2-6F47622AF956}"/>
          </ac:spMkLst>
        </pc:spChg>
        <pc:spChg chg="mod replST">
          <ac:chgData name="Dion3, Alain (SPAC/PSPC) (il-lui / he-him)" userId="b5972ad0-fee1-4393-9fd4-8bc589782ac7" providerId="ADAL" clId="{3ACCABA1-D66F-4904-8251-B355270E7CFD}" dt="2024-10-28T14:57:04.774" v="512" actId="790"/>
          <ac:spMkLst>
            <pc:docMk/>
            <pc:sldMk cId="416905842" sldId="5163"/>
            <ac:spMk id="13" creationId="{918BF31B-5C95-6A42-7144-947D2223A772}"/>
          </ac:spMkLst>
        </pc:spChg>
        <pc:spChg chg="mod replST">
          <ac:chgData name="Dion3, Alain (SPAC/PSPC) (il-lui / he-him)" userId="b5972ad0-fee1-4393-9fd4-8bc589782ac7" providerId="ADAL" clId="{3ACCABA1-D66F-4904-8251-B355270E7CFD}" dt="2024-10-28T14:57:04.774" v="512" actId="790"/>
          <ac:spMkLst>
            <pc:docMk/>
            <pc:sldMk cId="416905842" sldId="5163"/>
            <ac:spMk id="14" creationId="{CCB72D98-435F-5CEC-6FB4-919D7DBD56AE}"/>
          </ac:spMkLst>
        </pc:spChg>
        <pc:spChg chg="mod replST">
          <ac:chgData name="Dion3, Alain (SPAC/PSPC) (il-lui / he-him)" userId="b5972ad0-fee1-4393-9fd4-8bc589782ac7" providerId="ADAL" clId="{3ACCABA1-D66F-4904-8251-B355270E7CFD}" dt="2024-10-28T14:57:23.339" v="532" actId="20577"/>
          <ac:spMkLst>
            <pc:docMk/>
            <pc:sldMk cId="416905842" sldId="5163"/>
            <ac:spMk id="15" creationId="{88223E01-4461-3929-D0F3-0D9E480586ED}"/>
          </ac:spMkLst>
        </pc:spChg>
        <pc:spChg chg="mod replST">
          <ac:chgData name="Dion3, Alain (SPAC/PSPC) (il-lui / he-him)" userId="b5972ad0-fee1-4393-9fd4-8bc589782ac7" providerId="ADAL" clId="{3ACCABA1-D66F-4904-8251-B355270E7CFD}" dt="2024-10-28T14:57:04.774" v="512" actId="790"/>
          <ac:spMkLst>
            <pc:docMk/>
            <pc:sldMk cId="416905842" sldId="5163"/>
            <ac:spMk id="16" creationId="{2C35CEA1-D994-28EA-4A4F-631EDF5BE865}"/>
          </ac:spMkLst>
        </pc:spChg>
        <pc:spChg chg="mod replST">
          <ac:chgData name="Dion3, Alain (SPAC/PSPC) (il-lui / he-him)" userId="b5972ad0-fee1-4393-9fd4-8bc589782ac7" providerId="ADAL" clId="{3ACCABA1-D66F-4904-8251-B355270E7CFD}" dt="2024-10-28T14:57:04.774" v="512" actId="790"/>
          <ac:spMkLst>
            <pc:docMk/>
            <pc:sldMk cId="416905842" sldId="5163"/>
            <ac:spMk id="17" creationId="{66FF4875-49A7-FD78-EF0A-747DFB4CD1C8}"/>
          </ac:spMkLst>
        </pc:spChg>
        <pc:spChg chg="mod replST">
          <ac:chgData name="Dion3, Alain (SPAC/PSPC) (il-lui / he-him)" userId="b5972ad0-fee1-4393-9fd4-8bc589782ac7" providerId="ADAL" clId="{3ACCABA1-D66F-4904-8251-B355270E7CFD}" dt="2024-10-28T14:57:04.774" v="512" actId="790"/>
          <ac:spMkLst>
            <pc:docMk/>
            <pc:sldMk cId="416905842" sldId="5163"/>
            <ac:spMk id="18" creationId="{DBB57DC8-4628-1B79-318B-666FC4670D91}"/>
          </ac:spMkLst>
        </pc:spChg>
        <pc:spChg chg="mod replST">
          <ac:chgData name="Dion3, Alain (SPAC/PSPC) (il-lui / he-him)" userId="b5972ad0-fee1-4393-9fd4-8bc589782ac7" providerId="ADAL" clId="{3ACCABA1-D66F-4904-8251-B355270E7CFD}" dt="2024-10-28T14:57:04.774" v="512" actId="790"/>
          <ac:spMkLst>
            <pc:docMk/>
            <pc:sldMk cId="416905842" sldId="5163"/>
            <ac:spMk id="19" creationId="{AF495A8B-A250-7A4D-21E3-921C682454ED}"/>
          </ac:spMkLst>
        </pc:spChg>
        <pc:spChg chg="mod replST">
          <ac:chgData name="Dion3, Alain (SPAC/PSPC) (il-lui / he-him)" userId="b5972ad0-fee1-4393-9fd4-8bc589782ac7" providerId="ADAL" clId="{3ACCABA1-D66F-4904-8251-B355270E7CFD}" dt="2024-10-28T14:57:04.774" v="512" actId="790"/>
          <ac:spMkLst>
            <pc:docMk/>
            <pc:sldMk cId="416905842" sldId="5163"/>
            <ac:spMk id="20" creationId="{CFA085D6-0099-ED89-398A-18F25D593F88}"/>
          </ac:spMkLst>
        </pc:spChg>
        <pc:spChg chg="mod replST">
          <ac:chgData name="Dion3, Alain (SPAC/PSPC) (il-lui / he-him)" userId="b5972ad0-fee1-4393-9fd4-8bc589782ac7" providerId="ADAL" clId="{3ACCABA1-D66F-4904-8251-B355270E7CFD}" dt="2024-10-28T14:57:04.774" v="512" actId="790"/>
          <ac:spMkLst>
            <pc:docMk/>
            <pc:sldMk cId="416905842" sldId="5163"/>
            <ac:spMk id="22" creationId="{C612F677-64CF-8D3A-4DB1-4DE1B2AF9EA1}"/>
          </ac:spMkLst>
        </pc:spChg>
        <pc:spChg chg="mod replST">
          <ac:chgData name="Dion3, Alain (SPAC/PSPC) (il-lui / he-him)" userId="b5972ad0-fee1-4393-9fd4-8bc589782ac7" providerId="ADAL" clId="{3ACCABA1-D66F-4904-8251-B355270E7CFD}" dt="2024-10-28T14:57:04.774" v="512" actId="790"/>
          <ac:spMkLst>
            <pc:docMk/>
            <pc:sldMk cId="416905842" sldId="5163"/>
            <ac:spMk id="24" creationId="{46475CA0-5389-EEDC-9749-512BE3642A63}"/>
          </ac:spMkLst>
        </pc:spChg>
        <pc:spChg chg="mod replST">
          <ac:chgData name="Dion3, Alain (SPAC/PSPC) (il-lui / he-him)" userId="b5972ad0-fee1-4393-9fd4-8bc589782ac7" providerId="ADAL" clId="{3ACCABA1-D66F-4904-8251-B355270E7CFD}" dt="2024-10-28T14:57:04.774" v="512" actId="790"/>
          <ac:spMkLst>
            <pc:docMk/>
            <pc:sldMk cId="416905842" sldId="5163"/>
            <ac:spMk id="25" creationId="{9D314767-FE2C-346B-8209-21ED556BD3C8}"/>
          </ac:spMkLst>
        </pc:spChg>
        <pc:spChg chg="mod replST">
          <ac:chgData name="Dion3, Alain (SPAC/PSPC) (il-lui / he-him)" userId="b5972ad0-fee1-4393-9fd4-8bc589782ac7" providerId="ADAL" clId="{3ACCABA1-D66F-4904-8251-B355270E7CFD}" dt="2024-10-28T14:57:04.774" v="512" actId="790"/>
          <ac:spMkLst>
            <pc:docMk/>
            <pc:sldMk cId="416905842" sldId="5163"/>
            <ac:spMk id="26" creationId="{324E2945-CFA9-E091-39A7-0B3A162EC931}"/>
          </ac:spMkLst>
        </pc:spChg>
        <pc:spChg chg="mod replST">
          <ac:chgData name="Dion3, Alain (SPAC/PSPC) (il-lui / he-him)" userId="b5972ad0-fee1-4393-9fd4-8bc589782ac7" providerId="ADAL" clId="{3ACCABA1-D66F-4904-8251-B355270E7CFD}" dt="2024-10-28T14:57:04.774" v="512" actId="790"/>
          <ac:spMkLst>
            <pc:docMk/>
            <pc:sldMk cId="416905842" sldId="5163"/>
            <ac:spMk id="27" creationId="{11ECA5C9-9824-DF69-5A99-FCF83FBBF07E}"/>
          </ac:spMkLst>
        </pc:spChg>
        <pc:spChg chg="mod replST">
          <ac:chgData name="Dion3, Alain (SPAC/PSPC) (il-lui / he-him)" userId="b5972ad0-fee1-4393-9fd4-8bc589782ac7" providerId="ADAL" clId="{3ACCABA1-D66F-4904-8251-B355270E7CFD}" dt="2024-10-28T14:57:04.774" v="512" actId="790"/>
          <ac:spMkLst>
            <pc:docMk/>
            <pc:sldMk cId="416905842" sldId="5163"/>
            <ac:spMk id="28" creationId="{0A62947A-5147-AF36-8215-7461ED6217C6}"/>
          </ac:spMkLst>
        </pc:spChg>
        <pc:spChg chg="mod replST">
          <ac:chgData name="Dion3, Alain (SPAC/PSPC) (il-lui / he-him)" userId="b5972ad0-fee1-4393-9fd4-8bc589782ac7" providerId="ADAL" clId="{3ACCABA1-D66F-4904-8251-B355270E7CFD}" dt="2024-10-28T14:57:04.774" v="512" actId="790"/>
          <ac:spMkLst>
            <pc:docMk/>
            <pc:sldMk cId="416905842" sldId="5163"/>
            <ac:spMk id="30" creationId="{2ACFEF68-1F4C-FC65-92A8-C60D7FC9DA1B}"/>
          </ac:spMkLst>
        </pc:spChg>
        <pc:spChg chg="mod replST">
          <ac:chgData name="Dion3, Alain (SPAC/PSPC) (il-lui / he-him)" userId="b5972ad0-fee1-4393-9fd4-8bc589782ac7" providerId="ADAL" clId="{3ACCABA1-D66F-4904-8251-B355270E7CFD}" dt="2024-10-28T14:57:04.774" v="512" actId="790"/>
          <ac:spMkLst>
            <pc:docMk/>
            <pc:sldMk cId="416905842" sldId="5163"/>
            <ac:spMk id="31" creationId="{F1FC45FA-1DF2-7C17-C659-9ED369795783}"/>
          </ac:spMkLst>
        </pc:spChg>
        <pc:spChg chg="mod replST">
          <ac:chgData name="Dion3, Alain (SPAC/PSPC) (il-lui / he-him)" userId="b5972ad0-fee1-4393-9fd4-8bc589782ac7" providerId="ADAL" clId="{3ACCABA1-D66F-4904-8251-B355270E7CFD}" dt="2024-10-28T14:57:04.774" v="512" actId="790"/>
          <ac:spMkLst>
            <pc:docMk/>
            <pc:sldMk cId="416905842" sldId="5163"/>
            <ac:spMk id="33" creationId="{B52E6772-4247-DF96-8615-5FF05951886D}"/>
          </ac:spMkLst>
        </pc:spChg>
        <pc:spChg chg="mod replST">
          <ac:chgData name="Dion3, Alain (SPAC/PSPC) (il-lui / he-him)" userId="b5972ad0-fee1-4393-9fd4-8bc589782ac7" providerId="ADAL" clId="{3ACCABA1-D66F-4904-8251-B355270E7CFD}" dt="2024-10-28T14:57:04.774" v="512" actId="790"/>
          <ac:spMkLst>
            <pc:docMk/>
            <pc:sldMk cId="416905842" sldId="5163"/>
            <ac:spMk id="34" creationId="{F7AE0944-3100-D1BD-EAD8-DD82CA214995}"/>
          </ac:spMkLst>
        </pc:spChg>
        <pc:spChg chg="mod replST">
          <ac:chgData name="Dion3, Alain (SPAC/PSPC) (il-lui / he-him)" userId="b5972ad0-fee1-4393-9fd4-8bc589782ac7" providerId="ADAL" clId="{3ACCABA1-D66F-4904-8251-B355270E7CFD}" dt="2024-10-28T14:57:04.774" v="512" actId="790"/>
          <ac:spMkLst>
            <pc:docMk/>
            <pc:sldMk cId="416905842" sldId="5163"/>
            <ac:spMk id="35" creationId="{A45381C8-31CD-44E3-FCCB-74232805A5CB}"/>
          </ac:spMkLst>
        </pc:spChg>
        <pc:spChg chg="mod replST">
          <ac:chgData name="Dion3, Alain (SPAC/PSPC) (il-lui / he-him)" userId="b5972ad0-fee1-4393-9fd4-8bc589782ac7" providerId="ADAL" clId="{3ACCABA1-D66F-4904-8251-B355270E7CFD}" dt="2024-10-28T14:57:04.774" v="512" actId="790"/>
          <ac:spMkLst>
            <pc:docMk/>
            <pc:sldMk cId="416905842" sldId="5163"/>
            <ac:spMk id="36" creationId="{9FA4E66A-B415-8D50-2224-E9B708C19B9F}"/>
          </ac:spMkLst>
        </pc:spChg>
        <pc:spChg chg="mod replST">
          <ac:chgData name="Dion3, Alain (SPAC/PSPC) (il-lui / he-him)" userId="b5972ad0-fee1-4393-9fd4-8bc589782ac7" providerId="ADAL" clId="{3ACCABA1-D66F-4904-8251-B355270E7CFD}" dt="2024-10-28T14:57:04.774" v="512" actId="790"/>
          <ac:spMkLst>
            <pc:docMk/>
            <pc:sldMk cId="416905842" sldId="5163"/>
            <ac:spMk id="38" creationId="{75825BFD-0590-0064-1DB0-3560C4BC6CBC}"/>
          </ac:spMkLst>
        </pc:spChg>
        <pc:spChg chg="mod replST">
          <ac:chgData name="Dion3, Alain (SPAC/PSPC) (il-lui / he-him)" userId="b5972ad0-fee1-4393-9fd4-8bc589782ac7" providerId="ADAL" clId="{3ACCABA1-D66F-4904-8251-B355270E7CFD}" dt="2024-10-28T14:57:04.774" v="512" actId="790"/>
          <ac:spMkLst>
            <pc:docMk/>
            <pc:sldMk cId="416905842" sldId="5163"/>
            <ac:spMk id="40" creationId="{543AE277-053A-1846-322B-402EC8E55235}"/>
          </ac:spMkLst>
        </pc:spChg>
        <pc:spChg chg="mod replST">
          <ac:chgData name="Dion3, Alain (SPAC/PSPC) (il-lui / he-him)" userId="b5972ad0-fee1-4393-9fd4-8bc589782ac7" providerId="ADAL" clId="{3ACCABA1-D66F-4904-8251-B355270E7CFD}" dt="2024-10-28T14:57:04.774" v="512" actId="790"/>
          <ac:spMkLst>
            <pc:docMk/>
            <pc:sldMk cId="416905842" sldId="5163"/>
            <ac:spMk id="41" creationId="{6CC2F477-C447-01DD-A0EF-2C71D12FA9E7}"/>
          </ac:spMkLst>
        </pc:spChg>
        <pc:spChg chg="mod replST">
          <ac:chgData name="Dion3, Alain (SPAC/PSPC) (il-lui / he-him)" userId="b5972ad0-fee1-4393-9fd4-8bc589782ac7" providerId="ADAL" clId="{3ACCABA1-D66F-4904-8251-B355270E7CFD}" dt="2024-10-28T14:57:04.774" v="512" actId="790"/>
          <ac:spMkLst>
            <pc:docMk/>
            <pc:sldMk cId="416905842" sldId="5163"/>
            <ac:spMk id="42" creationId="{69A35460-9369-E06A-5878-2E3A1790FD06}"/>
          </ac:spMkLst>
        </pc:spChg>
        <pc:spChg chg="mod replST">
          <ac:chgData name="Dion3, Alain (SPAC/PSPC) (il-lui / he-him)" userId="b5972ad0-fee1-4393-9fd4-8bc589782ac7" providerId="ADAL" clId="{3ACCABA1-D66F-4904-8251-B355270E7CFD}" dt="2024-10-28T14:57:04.774" v="512" actId="790"/>
          <ac:spMkLst>
            <pc:docMk/>
            <pc:sldMk cId="416905842" sldId="5163"/>
            <ac:spMk id="43" creationId="{9EBD7031-D6B8-3C3F-6C21-36F88D9BB280}"/>
          </ac:spMkLst>
        </pc:spChg>
        <pc:spChg chg="mod replST">
          <ac:chgData name="Dion3, Alain (SPAC/PSPC) (il-lui / he-him)" userId="b5972ad0-fee1-4393-9fd4-8bc589782ac7" providerId="ADAL" clId="{3ACCABA1-D66F-4904-8251-B355270E7CFD}" dt="2024-10-28T14:57:04.774" v="512" actId="790"/>
          <ac:spMkLst>
            <pc:docMk/>
            <pc:sldMk cId="416905842" sldId="5163"/>
            <ac:spMk id="45" creationId="{1ECE98B4-7BDD-F02D-1EB2-4363C482AD8C}"/>
          </ac:spMkLst>
        </pc:spChg>
        <pc:spChg chg="mod replST">
          <ac:chgData name="Dion3, Alain (SPAC/PSPC) (il-lui / he-him)" userId="b5972ad0-fee1-4393-9fd4-8bc589782ac7" providerId="ADAL" clId="{3ACCABA1-D66F-4904-8251-B355270E7CFD}" dt="2024-10-28T14:57:04.774" v="512" actId="790"/>
          <ac:spMkLst>
            <pc:docMk/>
            <pc:sldMk cId="416905842" sldId="5163"/>
            <ac:spMk id="46" creationId="{038B6E04-26C2-25D3-B757-F068727BE88E}"/>
          </ac:spMkLst>
        </pc:spChg>
        <pc:spChg chg="mod replST">
          <ac:chgData name="Dion3, Alain (SPAC/PSPC) (il-lui / he-him)" userId="b5972ad0-fee1-4393-9fd4-8bc589782ac7" providerId="ADAL" clId="{3ACCABA1-D66F-4904-8251-B355270E7CFD}" dt="2024-10-28T14:57:04.774" v="512" actId="790"/>
          <ac:spMkLst>
            <pc:docMk/>
            <pc:sldMk cId="416905842" sldId="5163"/>
            <ac:spMk id="48" creationId="{5A7F9F9E-9175-F5DF-2A93-F1044995B2FB}"/>
          </ac:spMkLst>
        </pc:spChg>
        <pc:spChg chg="mod replST">
          <ac:chgData name="Dion3, Alain (SPAC/PSPC) (il-lui / he-him)" userId="b5972ad0-fee1-4393-9fd4-8bc589782ac7" providerId="ADAL" clId="{3ACCABA1-D66F-4904-8251-B355270E7CFD}" dt="2024-10-28T14:57:04.774" v="512" actId="790"/>
          <ac:spMkLst>
            <pc:docMk/>
            <pc:sldMk cId="416905842" sldId="5163"/>
            <ac:spMk id="49" creationId="{A91144D3-0AAE-DE72-53BE-E833CED731E5}"/>
          </ac:spMkLst>
        </pc:spChg>
        <pc:spChg chg="mod replST">
          <ac:chgData name="Dion3, Alain (SPAC/PSPC) (il-lui / he-him)" userId="b5972ad0-fee1-4393-9fd4-8bc589782ac7" providerId="ADAL" clId="{3ACCABA1-D66F-4904-8251-B355270E7CFD}" dt="2024-10-28T14:57:04.774" v="512" actId="790"/>
          <ac:spMkLst>
            <pc:docMk/>
            <pc:sldMk cId="416905842" sldId="5163"/>
            <ac:spMk id="50" creationId="{C12ED88E-D26B-D688-B79C-4074BFFD53F2}"/>
          </ac:spMkLst>
        </pc:spChg>
        <pc:spChg chg="mod replST">
          <ac:chgData name="Dion3, Alain (SPAC/PSPC) (il-lui / he-him)" userId="b5972ad0-fee1-4393-9fd4-8bc589782ac7" providerId="ADAL" clId="{3ACCABA1-D66F-4904-8251-B355270E7CFD}" dt="2024-10-28T14:57:04.774" v="512" actId="790"/>
          <ac:spMkLst>
            <pc:docMk/>
            <pc:sldMk cId="416905842" sldId="5163"/>
            <ac:spMk id="51" creationId="{879975FA-9ACA-8B4E-D7F8-5C70F88FD56A}"/>
          </ac:spMkLst>
        </pc:spChg>
        <pc:spChg chg="mod replST">
          <ac:chgData name="Dion3, Alain (SPAC/PSPC) (il-lui / he-him)" userId="b5972ad0-fee1-4393-9fd4-8bc589782ac7" providerId="ADAL" clId="{3ACCABA1-D66F-4904-8251-B355270E7CFD}" dt="2024-10-28T14:57:04.774" v="512" actId="790"/>
          <ac:spMkLst>
            <pc:docMk/>
            <pc:sldMk cId="416905842" sldId="5163"/>
            <ac:spMk id="52" creationId="{6058D165-FCA6-59E9-C32C-0F1C61DC16FD}"/>
          </ac:spMkLst>
        </pc:spChg>
        <pc:spChg chg="mod replST">
          <ac:chgData name="Dion3, Alain (SPAC/PSPC) (il-lui / he-him)" userId="b5972ad0-fee1-4393-9fd4-8bc589782ac7" providerId="ADAL" clId="{3ACCABA1-D66F-4904-8251-B355270E7CFD}" dt="2024-10-28T14:57:04.774" v="512" actId="790"/>
          <ac:spMkLst>
            <pc:docMk/>
            <pc:sldMk cId="416905842" sldId="5163"/>
            <ac:spMk id="54" creationId="{5E7B02DF-2558-19D5-EC05-27B8F4C6D40F}"/>
          </ac:spMkLst>
        </pc:spChg>
        <pc:spChg chg="mod replST">
          <ac:chgData name="Dion3, Alain (SPAC/PSPC) (il-lui / he-him)" userId="b5972ad0-fee1-4393-9fd4-8bc589782ac7" providerId="ADAL" clId="{3ACCABA1-D66F-4904-8251-B355270E7CFD}" dt="2024-10-28T14:57:04.774" v="512" actId="790"/>
          <ac:spMkLst>
            <pc:docMk/>
            <pc:sldMk cId="416905842" sldId="5163"/>
            <ac:spMk id="55" creationId="{55142A24-5EA0-F55D-51BB-D0DC887A2440}"/>
          </ac:spMkLst>
        </pc:spChg>
        <pc:picChg chg="replST">
          <ac:chgData name="Dion3, Alain (SPAC/PSPC) (il-lui / he-him)" userId="b5972ad0-fee1-4393-9fd4-8bc589782ac7" providerId="ADAL" clId="{3ACCABA1-D66F-4904-8251-B355270E7CFD}" dt="2024-10-28T13:31:14.552" v="86"/>
          <ac:picMkLst>
            <pc:docMk/>
            <pc:sldMk cId="416905842" sldId="5163"/>
            <ac:picMk id="3" creationId="{FA486D70-CC58-8A4B-29FE-3602F3FC2401}"/>
          </ac:picMkLst>
        </pc:picChg>
        <pc:cxnChg chg="replST">
          <ac:chgData name="Dion3, Alain (SPAC/PSPC) (il-lui / he-him)" userId="b5972ad0-fee1-4393-9fd4-8bc589782ac7" providerId="ADAL" clId="{3ACCABA1-D66F-4904-8251-B355270E7CFD}" dt="2024-10-28T13:31:14.646" v="101"/>
          <ac:cxnSpMkLst>
            <pc:docMk/>
            <pc:sldMk cId="416905842" sldId="5163"/>
            <ac:cxnSpMk id="21" creationId="{FA7C870F-1F8C-F607-CBAC-3540C33D8445}"/>
          </ac:cxnSpMkLst>
        </pc:cxnChg>
        <pc:cxnChg chg="replST">
          <ac:chgData name="Dion3, Alain (SPAC/PSPC) (il-lui / he-him)" userId="b5972ad0-fee1-4393-9fd4-8bc589782ac7" providerId="ADAL" clId="{3ACCABA1-D66F-4904-8251-B355270E7CFD}" dt="2024-10-28T13:31:14.658" v="103"/>
          <ac:cxnSpMkLst>
            <pc:docMk/>
            <pc:sldMk cId="416905842" sldId="5163"/>
            <ac:cxnSpMk id="23" creationId="{60956224-3BBE-B324-6C51-85BF60ED8D62}"/>
          </ac:cxnSpMkLst>
        </pc:cxnChg>
        <pc:cxnChg chg="replST">
          <ac:chgData name="Dion3, Alain (SPAC/PSPC) (il-lui / he-him)" userId="b5972ad0-fee1-4393-9fd4-8bc589782ac7" providerId="ADAL" clId="{3ACCABA1-D66F-4904-8251-B355270E7CFD}" dt="2024-10-28T13:31:14.694" v="109"/>
          <ac:cxnSpMkLst>
            <pc:docMk/>
            <pc:sldMk cId="416905842" sldId="5163"/>
            <ac:cxnSpMk id="29" creationId="{EB765993-0C2A-63E9-2E8E-2A0287F7F400}"/>
          </ac:cxnSpMkLst>
        </pc:cxnChg>
        <pc:cxnChg chg="replST">
          <ac:chgData name="Dion3, Alain (SPAC/PSPC) (il-lui / he-him)" userId="b5972ad0-fee1-4393-9fd4-8bc589782ac7" providerId="ADAL" clId="{3ACCABA1-D66F-4904-8251-B355270E7CFD}" dt="2024-10-28T13:31:14.711" v="112"/>
          <ac:cxnSpMkLst>
            <pc:docMk/>
            <pc:sldMk cId="416905842" sldId="5163"/>
            <ac:cxnSpMk id="32" creationId="{C41D0D38-D37A-C702-1711-C04AE3FE434C}"/>
          </ac:cxnSpMkLst>
        </pc:cxnChg>
        <pc:cxnChg chg="replST">
          <ac:chgData name="Dion3, Alain (SPAC/PSPC) (il-lui / he-him)" userId="b5972ad0-fee1-4393-9fd4-8bc589782ac7" providerId="ADAL" clId="{3ACCABA1-D66F-4904-8251-B355270E7CFD}" dt="2024-10-28T13:31:14.739" v="117"/>
          <ac:cxnSpMkLst>
            <pc:docMk/>
            <pc:sldMk cId="416905842" sldId="5163"/>
            <ac:cxnSpMk id="37" creationId="{28AFBD7B-8DB2-DBD0-C274-7148A919B674}"/>
          </ac:cxnSpMkLst>
        </pc:cxnChg>
        <pc:cxnChg chg="replST">
          <ac:chgData name="Dion3, Alain (SPAC/PSPC) (il-lui / he-him)" userId="b5972ad0-fee1-4393-9fd4-8bc589782ac7" providerId="ADAL" clId="{3ACCABA1-D66F-4904-8251-B355270E7CFD}" dt="2024-10-28T13:31:14.754" v="119"/>
          <ac:cxnSpMkLst>
            <pc:docMk/>
            <pc:sldMk cId="416905842" sldId="5163"/>
            <ac:cxnSpMk id="39" creationId="{E49B0FD2-5582-BF26-495F-0F4CB8A7FDD1}"/>
          </ac:cxnSpMkLst>
        </pc:cxnChg>
        <pc:cxnChg chg="replST">
          <ac:chgData name="Dion3, Alain (SPAC/PSPC) (il-lui / he-him)" userId="b5972ad0-fee1-4393-9fd4-8bc589782ac7" providerId="ADAL" clId="{3ACCABA1-D66F-4904-8251-B355270E7CFD}" dt="2024-10-28T13:31:14.782" v="124"/>
          <ac:cxnSpMkLst>
            <pc:docMk/>
            <pc:sldMk cId="416905842" sldId="5163"/>
            <ac:cxnSpMk id="44" creationId="{BBBCF7AD-D691-FEB7-4DC9-3FDC9ED648A5}"/>
          </ac:cxnSpMkLst>
        </pc:cxnChg>
        <pc:cxnChg chg="replST">
          <ac:chgData name="Dion3, Alain (SPAC/PSPC) (il-lui / he-him)" userId="b5972ad0-fee1-4393-9fd4-8bc589782ac7" providerId="ADAL" clId="{3ACCABA1-D66F-4904-8251-B355270E7CFD}" dt="2024-10-28T13:31:14.799" v="127"/>
          <ac:cxnSpMkLst>
            <pc:docMk/>
            <pc:sldMk cId="416905842" sldId="5163"/>
            <ac:cxnSpMk id="47" creationId="{FDB8C5F9-1293-B0D8-5E61-88BC09F5547E}"/>
          </ac:cxnSpMkLst>
        </pc:cxnChg>
        <pc:cxnChg chg="replST">
          <ac:chgData name="Dion3, Alain (SPAC/PSPC) (il-lui / he-him)" userId="b5972ad0-fee1-4393-9fd4-8bc589782ac7" providerId="ADAL" clId="{3ACCABA1-D66F-4904-8251-B355270E7CFD}" dt="2024-10-28T13:31:14.840" v="133"/>
          <ac:cxnSpMkLst>
            <pc:docMk/>
            <pc:sldMk cId="416905842" sldId="5163"/>
            <ac:cxnSpMk id="53" creationId="{247E69B8-4C2E-D203-B1A6-289EBF09FF47}"/>
          </ac:cxnSpMkLst>
        </pc:cxnChg>
        <pc:cxnChg chg="replST">
          <ac:chgData name="Dion3, Alain (SPAC/PSPC) (il-lui / he-him)" userId="b5972ad0-fee1-4393-9fd4-8bc589782ac7" providerId="ADAL" clId="{3ACCABA1-D66F-4904-8251-B355270E7CFD}" dt="2024-10-28T13:31:14.860" v="136"/>
          <ac:cxnSpMkLst>
            <pc:docMk/>
            <pc:sldMk cId="416905842" sldId="5163"/>
            <ac:cxnSpMk id="56" creationId="{BD62BE99-7E43-F3E2-3AC9-8D1D1B910FE6}"/>
          </ac:cxnSpMkLst>
        </pc:cxnChg>
        <pc:cxnChg chg="replST">
          <ac:chgData name="Dion3, Alain (SPAC/PSPC) (il-lui / he-him)" userId="b5972ad0-fee1-4393-9fd4-8bc589782ac7" providerId="ADAL" clId="{3ACCABA1-D66F-4904-8251-B355270E7CFD}" dt="2024-10-28T13:31:14.866" v="137"/>
          <ac:cxnSpMkLst>
            <pc:docMk/>
            <pc:sldMk cId="416905842" sldId="5163"/>
            <ac:cxnSpMk id="57" creationId="{69D49AD1-DF40-D8F6-3AEA-DCDBB884942B}"/>
          </ac:cxnSpMkLst>
        </pc:cxnChg>
        <pc:cxnChg chg="replST">
          <ac:chgData name="Dion3, Alain (SPAC/PSPC) (il-lui / he-him)" userId="b5972ad0-fee1-4393-9fd4-8bc589782ac7" providerId="ADAL" clId="{3ACCABA1-D66F-4904-8251-B355270E7CFD}" dt="2024-10-28T13:31:14.872" v="138"/>
          <ac:cxnSpMkLst>
            <pc:docMk/>
            <pc:sldMk cId="416905842" sldId="5163"/>
            <ac:cxnSpMk id="58" creationId="{73A11CBD-27CB-DF5A-70FD-69B0EF2C1262}"/>
          </ac:cxnSpMkLst>
        </pc:cxnChg>
      </pc:sldChg>
      <pc:sldChg chg="modSp mod addCm modCm modNotes modNotesTx">
        <pc:chgData name="Dion3, Alain (SPAC/PSPC) (il-lui / he-him)" userId="b5972ad0-fee1-4393-9fd4-8bc589782ac7" providerId="ADAL" clId="{3ACCABA1-D66F-4904-8251-B355270E7CFD}" dt="2024-10-28T14:11:52.940" v="227" actId="20577"/>
        <pc:sldMkLst>
          <pc:docMk/>
          <pc:sldMk cId="2643018674" sldId="5164"/>
        </pc:sldMkLst>
        <pc:spChg chg="mod replST">
          <ac:chgData name="Dion3, Alain (SPAC/PSPC) (il-lui / he-him)" userId="b5972ad0-fee1-4393-9fd4-8bc589782ac7" providerId="ADAL" clId="{3ACCABA1-D66F-4904-8251-B355270E7CFD}" dt="2024-10-28T13:32:15.458" v="152" actId="790"/>
          <ac:spMkLst>
            <pc:docMk/>
            <pc:sldMk cId="2643018674" sldId="5164"/>
            <ac:spMk id="3" creationId="{41BE6B50-88EB-D2A5-67D3-AD36A9027E26}"/>
          </ac:spMkLst>
        </pc:spChg>
        <pc:spChg chg="mod replST">
          <ac:chgData name="Dion3, Alain (SPAC/PSPC) (il-lui / he-him)" userId="b5972ad0-fee1-4393-9fd4-8bc589782ac7" providerId="ADAL" clId="{3ACCABA1-D66F-4904-8251-B355270E7CFD}" dt="2024-10-28T13:38:50.090" v="220" actId="20577"/>
          <ac:spMkLst>
            <pc:docMk/>
            <pc:sldMk cId="2643018674" sldId="5164"/>
            <ac:spMk id="5" creationId="{D0DACE9A-1229-9EEE-A180-51B071D4E977}"/>
          </ac:spMkLst>
        </pc:spChg>
        <pc:spChg chg="mod replST">
          <ac:chgData name="Dion3, Alain (SPAC/PSPC) (il-lui / he-him)" userId="b5972ad0-fee1-4393-9fd4-8bc589782ac7" providerId="ADAL" clId="{3ACCABA1-D66F-4904-8251-B355270E7CFD}" dt="2024-10-28T13:32:15.458" v="152" actId="790"/>
          <ac:spMkLst>
            <pc:docMk/>
            <pc:sldMk cId="2643018674" sldId="5164"/>
            <ac:spMk id="6" creationId="{C37AB966-CDBE-2C55-3F98-CA62BB152F01}"/>
          </ac:spMkLst>
        </pc:spChg>
        <pc:spChg chg="mod replST">
          <ac:chgData name="Dion3, Alain (SPAC/PSPC) (il-lui / he-him)" userId="b5972ad0-fee1-4393-9fd4-8bc589782ac7" providerId="ADAL" clId="{3ACCABA1-D66F-4904-8251-B355270E7CFD}" dt="2024-10-28T13:32:15.458" v="152" actId="790"/>
          <ac:spMkLst>
            <pc:docMk/>
            <pc:sldMk cId="2643018674" sldId="5164"/>
            <ac:spMk id="7" creationId="{C62EB4E4-F735-AD30-5AD4-F4E6B822F95C}"/>
          </ac:spMkLst>
        </pc:spChg>
        <pc:spChg chg="mod replST">
          <ac:chgData name="Dion3, Alain (SPAC/PSPC) (il-lui / he-him)" userId="b5972ad0-fee1-4393-9fd4-8bc589782ac7" providerId="ADAL" clId="{3ACCABA1-D66F-4904-8251-B355270E7CFD}" dt="2024-10-28T13:32:15.458" v="152" actId="790"/>
          <ac:spMkLst>
            <pc:docMk/>
            <pc:sldMk cId="2643018674" sldId="5164"/>
            <ac:spMk id="8" creationId="{44BC3EAC-3980-4F07-943B-6EC20B7A7BDE}"/>
          </ac:spMkLst>
        </pc:spChg>
        <pc:spChg chg="mod replST">
          <ac:chgData name="Dion3, Alain (SPAC/PSPC) (il-lui / he-him)" userId="b5972ad0-fee1-4393-9fd4-8bc589782ac7" providerId="ADAL" clId="{3ACCABA1-D66F-4904-8251-B355270E7CFD}" dt="2024-10-28T13:32:15.458" v="152" actId="790"/>
          <ac:spMkLst>
            <pc:docMk/>
            <pc:sldMk cId="2643018674" sldId="5164"/>
            <ac:spMk id="9" creationId="{AAE94596-646F-19F0-2DAB-4EB93FB2F7D0}"/>
          </ac:spMkLst>
        </pc:spChg>
        <pc:spChg chg="mod replST">
          <ac:chgData name="Dion3, Alain (SPAC/PSPC) (il-lui / he-him)" userId="b5972ad0-fee1-4393-9fd4-8bc589782ac7" providerId="ADAL" clId="{3ACCABA1-D66F-4904-8251-B355270E7CFD}" dt="2024-10-28T13:32:15.458" v="152" actId="790"/>
          <ac:spMkLst>
            <pc:docMk/>
            <pc:sldMk cId="2643018674" sldId="5164"/>
            <ac:spMk id="10" creationId="{DB8B833A-09AE-E2B0-B009-6B66BB533DDE}"/>
          </ac:spMkLst>
        </pc:spChg>
        <pc:spChg chg="mod replST">
          <ac:chgData name="Dion3, Alain (SPAC/PSPC) (il-lui / he-him)" userId="b5972ad0-fee1-4393-9fd4-8bc589782ac7" providerId="ADAL" clId="{3ACCABA1-D66F-4904-8251-B355270E7CFD}" dt="2024-10-28T13:38:53.205" v="223" actId="20577"/>
          <ac:spMkLst>
            <pc:docMk/>
            <pc:sldMk cId="2643018674" sldId="5164"/>
            <ac:spMk id="12" creationId="{6A3B9CD2-AFBF-BEF4-7CE5-AED963949FAC}"/>
          </ac:spMkLst>
        </pc:spChg>
        <pc:spChg chg="mod">
          <ac:chgData name="Dion3, Alain (SPAC/PSPC) (il-lui / he-him)" userId="b5972ad0-fee1-4393-9fd4-8bc589782ac7" providerId="ADAL" clId="{3ACCABA1-D66F-4904-8251-B355270E7CFD}" dt="2024-10-28T13:32:15.458" v="152" actId="790"/>
          <ac:spMkLst>
            <pc:docMk/>
            <pc:sldMk cId="2643018674" sldId="5164"/>
            <ac:spMk id="22" creationId="{D584EBA7-CBDB-A407-2BDD-101FF8371B4B}"/>
          </ac:spMkLst>
        </pc:spChg>
        <pc:spChg chg="mod">
          <ac:chgData name="Dion3, Alain (SPAC/PSPC) (il-lui / he-him)" userId="b5972ad0-fee1-4393-9fd4-8bc589782ac7" providerId="ADAL" clId="{3ACCABA1-D66F-4904-8251-B355270E7CFD}" dt="2024-10-28T13:32:15.458" v="152" actId="790"/>
          <ac:spMkLst>
            <pc:docMk/>
            <pc:sldMk cId="2643018674" sldId="5164"/>
            <ac:spMk id="24" creationId="{55E0100F-188C-1B9D-8084-05834FD5FF64}"/>
          </ac:spMkLst>
        </pc:spChg>
        <pc:spChg chg="mod">
          <ac:chgData name="Dion3, Alain (SPAC/PSPC) (il-lui / he-him)" userId="b5972ad0-fee1-4393-9fd4-8bc589782ac7" providerId="ADAL" clId="{3ACCABA1-D66F-4904-8251-B355270E7CFD}" dt="2024-10-28T13:32:15.458" v="152" actId="790"/>
          <ac:spMkLst>
            <pc:docMk/>
            <pc:sldMk cId="2643018674" sldId="5164"/>
            <ac:spMk id="25" creationId="{7E4519B3-99F1-CC09-4C1F-244341920E23}"/>
          </ac:spMkLst>
        </pc:spChg>
        <pc:spChg chg="mod">
          <ac:chgData name="Dion3, Alain (SPAC/PSPC) (il-lui / he-him)" userId="b5972ad0-fee1-4393-9fd4-8bc589782ac7" providerId="ADAL" clId="{3ACCABA1-D66F-4904-8251-B355270E7CFD}" dt="2024-10-28T13:32:15.458" v="152" actId="790"/>
          <ac:spMkLst>
            <pc:docMk/>
            <pc:sldMk cId="2643018674" sldId="5164"/>
            <ac:spMk id="27" creationId="{65E9AD83-F111-1708-33A6-EE8AFE212572}"/>
          </ac:spMkLst>
        </pc:spChg>
        <pc:spChg chg="mod">
          <ac:chgData name="Dion3, Alain (SPAC/PSPC) (il-lui / he-him)" userId="b5972ad0-fee1-4393-9fd4-8bc589782ac7" providerId="ADAL" clId="{3ACCABA1-D66F-4904-8251-B355270E7CFD}" dt="2024-10-28T13:32:15.458" v="152" actId="790"/>
          <ac:spMkLst>
            <pc:docMk/>
            <pc:sldMk cId="2643018674" sldId="5164"/>
            <ac:spMk id="28" creationId="{CB36570A-847F-6211-9E8D-F1FC8D86F233}"/>
          </ac:spMkLst>
        </pc:spChg>
        <pc:spChg chg="mod">
          <ac:chgData name="Dion3, Alain (SPAC/PSPC) (il-lui / he-him)" userId="b5972ad0-fee1-4393-9fd4-8bc589782ac7" providerId="ADAL" clId="{3ACCABA1-D66F-4904-8251-B355270E7CFD}" dt="2024-10-28T13:32:15.458" v="152" actId="790"/>
          <ac:spMkLst>
            <pc:docMk/>
            <pc:sldMk cId="2643018674" sldId="5164"/>
            <ac:spMk id="29" creationId="{A0E6025E-4C39-C492-A915-0923EEAF50C3}"/>
          </ac:spMkLst>
        </pc:spChg>
        <pc:spChg chg="mod">
          <ac:chgData name="Dion3, Alain (SPAC/PSPC) (il-lui / he-him)" userId="b5972ad0-fee1-4393-9fd4-8bc589782ac7" providerId="ADAL" clId="{3ACCABA1-D66F-4904-8251-B355270E7CFD}" dt="2024-10-28T13:32:15.458" v="152" actId="790"/>
          <ac:spMkLst>
            <pc:docMk/>
            <pc:sldMk cId="2643018674" sldId="5164"/>
            <ac:spMk id="30" creationId="{AAAE6B21-C3F0-6199-D232-26038649B816}"/>
          </ac:spMkLst>
        </pc:spChg>
        <pc:spChg chg="mod">
          <ac:chgData name="Dion3, Alain (SPAC/PSPC) (il-lui / he-him)" userId="b5972ad0-fee1-4393-9fd4-8bc589782ac7" providerId="ADAL" clId="{3ACCABA1-D66F-4904-8251-B355270E7CFD}" dt="2024-10-28T13:32:15.458" v="152" actId="790"/>
          <ac:spMkLst>
            <pc:docMk/>
            <pc:sldMk cId="2643018674" sldId="5164"/>
            <ac:spMk id="31" creationId="{89E509A3-75F3-8F87-9867-A8DE1833F316}"/>
          </ac:spMkLst>
        </pc:spChg>
        <pc:spChg chg="mod">
          <ac:chgData name="Dion3, Alain (SPAC/PSPC) (il-lui / he-him)" userId="b5972ad0-fee1-4393-9fd4-8bc589782ac7" providerId="ADAL" clId="{3ACCABA1-D66F-4904-8251-B355270E7CFD}" dt="2024-10-28T13:32:15.458" v="152" actId="790"/>
          <ac:spMkLst>
            <pc:docMk/>
            <pc:sldMk cId="2643018674" sldId="5164"/>
            <ac:spMk id="32" creationId="{ECF0CEEC-AB10-73F8-FF53-285777A5B406}"/>
          </ac:spMkLst>
        </pc:spChg>
        <pc:spChg chg="mod">
          <ac:chgData name="Dion3, Alain (SPAC/PSPC) (il-lui / he-him)" userId="b5972ad0-fee1-4393-9fd4-8bc589782ac7" providerId="ADAL" clId="{3ACCABA1-D66F-4904-8251-B355270E7CFD}" dt="2024-10-28T13:32:15.458" v="152" actId="790"/>
          <ac:spMkLst>
            <pc:docMk/>
            <pc:sldMk cId="2643018674" sldId="5164"/>
            <ac:spMk id="33" creationId="{0FCF7426-61A4-CE77-0571-2803ED7E58A4}"/>
          </ac:spMkLst>
        </pc:spChg>
        <pc:spChg chg="mod">
          <ac:chgData name="Dion3, Alain (SPAC/PSPC) (il-lui / he-him)" userId="b5972ad0-fee1-4393-9fd4-8bc589782ac7" providerId="ADAL" clId="{3ACCABA1-D66F-4904-8251-B355270E7CFD}" dt="2024-10-28T13:32:15.458" v="152" actId="790"/>
          <ac:spMkLst>
            <pc:docMk/>
            <pc:sldMk cId="2643018674" sldId="5164"/>
            <ac:spMk id="34" creationId="{FA3BA803-3597-2254-D69E-CD3D12F6567E}"/>
          </ac:spMkLst>
        </pc:spChg>
        <pc:spChg chg="mod">
          <ac:chgData name="Dion3, Alain (SPAC/PSPC) (il-lui / he-him)" userId="b5972ad0-fee1-4393-9fd4-8bc589782ac7" providerId="ADAL" clId="{3ACCABA1-D66F-4904-8251-B355270E7CFD}" dt="2024-10-28T13:32:15.458" v="152" actId="790"/>
          <ac:spMkLst>
            <pc:docMk/>
            <pc:sldMk cId="2643018674" sldId="5164"/>
            <ac:spMk id="35" creationId="{93B4F391-5FE1-2DEB-CFAE-4D5EDFFA556E}"/>
          </ac:spMkLst>
        </pc:spChg>
        <pc:spChg chg="mod">
          <ac:chgData name="Dion3, Alain (SPAC/PSPC) (il-lui / he-him)" userId="b5972ad0-fee1-4393-9fd4-8bc589782ac7" providerId="ADAL" clId="{3ACCABA1-D66F-4904-8251-B355270E7CFD}" dt="2024-10-28T13:32:15.458" v="152" actId="790"/>
          <ac:spMkLst>
            <pc:docMk/>
            <pc:sldMk cId="2643018674" sldId="5164"/>
            <ac:spMk id="36" creationId="{59532803-71DA-1110-F913-BCDFFF195AA2}"/>
          </ac:spMkLst>
        </pc:spChg>
        <pc:spChg chg="mod">
          <ac:chgData name="Dion3, Alain (SPAC/PSPC) (il-lui / he-him)" userId="b5972ad0-fee1-4393-9fd4-8bc589782ac7" providerId="ADAL" clId="{3ACCABA1-D66F-4904-8251-B355270E7CFD}" dt="2024-10-28T13:32:15.458" v="152" actId="790"/>
          <ac:spMkLst>
            <pc:docMk/>
            <pc:sldMk cId="2643018674" sldId="5164"/>
            <ac:spMk id="37" creationId="{94A45180-175A-1288-BEF0-14A28278F207}"/>
          </ac:spMkLst>
        </pc:spChg>
        <pc:spChg chg="mod">
          <ac:chgData name="Dion3, Alain (SPAC/PSPC) (il-lui / he-him)" userId="b5972ad0-fee1-4393-9fd4-8bc589782ac7" providerId="ADAL" clId="{3ACCABA1-D66F-4904-8251-B355270E7CFD}" dt="2024-10-28T13:32:15.458" v="152" actId="790"/>
          <ac:spMkLst>
            <pc:docMk/>
            <pc:sldMk cId="2643018674" sldId="5164"/>
            <ac:spMk id="38" creationId="{F54DE717-ED71-3083-7314-4CD9D1EEF68D}"/>
          </ac:spMkLst>
        </pc:spChg>
        <pc:spChg chg="mod">
          <ac:chgData name="Dion3, Alain (SPAC/PSPC) (il-lui / he-him)" userId="b5972ad0-fee1-4393-9fd4-8bc589782ac7" providerId="ADAL" clId="{3ACCABA1-D66F-4904-8251-B355270E7CFD}" dt="2024-10-28T13:32:15.458" v="152" actId="790"/>
          <ac:spMkLst>
            <pc:docMk/>
            <pc:sldMk cId="2643018674" sldId="5164"/>
            <ac:spMk id="39" creationId="{0A9CADB0-5230-F233-24FF-594559B7912B}"/>
          </ac:spMkLst>
        </pc:spChg>
        <pc:spChg chg="mod">
          <ac:chgData name="Dion3, Alain (SPAC/PSPC) (il-lui / he-him)" userId="b5972ad0-fee1-4393-9fd4-8bc589782ac7" providerId="ADAL" clId="{3ACCABA1-D66F-4904-8251-B355270E7CFD}" dt="2024-10-28T13:32:15.458" v="152" actId="790"/>
          <ac:spMkLst>
            <pc:docMk/>
            <pc:sldMk cId="2643018674" sldId="5164"/>
            <ac:spMk id="40" creationId="{1B407058-991F-EA26-99EE-3547CE642656}"/>
          </ac:spMkLst>
        </pc:spChg>
        <pc:spChg chg="mod">
          <ac:chgData name="Dion3, Alain (SPAC/PSPC) (il-lui / he-him)" userId="b5972ad0-fee1-4393-9fd4-8bc589782ac7" providerId="ADAL" clId="{3ACCABA1-D66F-4904-8251-B355270E7CFD}" dt="2024-10-28T13:32:15.458" v="152" actId="790"/>
          <ac:spMkLst>
            <pc:docMk/>
            <pc:sldMk cId="2643018674" sldId="5164"/>
            <ac:spMk id="41" creationId="{E9EE14A2-571E-EE6E-80E4-9E70EE820063}"/>
          </ac:spMkLst>
        </pc:spChg>
        <pc:spChg chg="mod">
          <ac:chgData name="Dion3, Alain (SPAC/PSPC) (il-lui / he-him)" userId="b5972ad0-fee1-4393-9fd4-8bc589782ac7" providerId="ADAL" clId="{3ACCABA1-D66F-4904-8251-B355270E7CFD}" dt="2024-10-28T13:32:15.458" v="152" actId="790"/>
          <ac:spMkLst>
            <pc:docMk/>
            <pc:sldMk cId="2643018674" sldId="5164"/>
            <ac:spMk id="42" creationId="{DA1B0F08-AC42-81A8-48B4-A009F9707157}"/>
          </ac:spMkLst>
        </pc:spChg>
        <pc:spChg chg="mod">
          <ac:chgData name="Dion3, Alain (SPAC/PSPC) (il-lui / he-him)" userId="b5972ad0-fee1-4393-9fd4-8bc589782ac7" providerId="ADAL" clId="{3ACCABA1-D66F-4904-8251-B355270E7CFD}" dt="2024-10-28T13:32:15.458" v="152" actId="790"/>
          <ac:spMkLst>
            <pc:docMk/>
            <pc:sldMk cId="2643018674" sldId="5164"/>
            <ac:spMk id="43" creationId="{06E350D4-531C-9E88-E71B-AD07ED026359}"/>
          </ac:spMkLst>
        </pc:spChg>
        <pc:spChg chg="mod">
          <ac:chgData name="Dion3, Alain (SPAC/PSPC) (il-lui / he-him)" userId="b5972ad0-fee1-4393-9fd4-8bc589782ac7" providerId="ADAL" clId="{3ACCABA1-D66F-4904-8251-B355270E7CFD}" dt="2024-10-28T13:32:15.458" v="152" actId="790"/>
          <ac:spMkLst>
            <pc:docMk/>
            <pc:sldMk cId="2643018674" sldId="5164"/>
            <ac:spMk id="44" creationId="{E1A37DB1-37E6-480D-F6A3-4B4B43F9EED5}"/>
          </ac:spMkLst>
        </pc:spChg>
        <pc:spChg chg="mod">
          <ac:chgData name="Dion3, Alain (SPAC/PSPC) (il-lui / he-him)" userId="b5972ad0-fee1-4393-9fd4-8bc589782ac7" providerId="ADAL" clId="{3ACCABA1-D66F-4904-8251-B355270E7CFD}" dt="2024-10-28T13:32:15.458" v="152" actId="790"/>
          <ac:spMkLst>
            <pc:docMk/>
            <pc:sldMk cId="2643018674" sldId="5164"/>
            <ac:spMk id="45" creationId="{4B8B2B05-931F-4821-C654-43809A0C6398}"/>
          </ac:spMkLst>
        </pc:spChg>
        <pc:spChg chg="mod">
          <ac:chgData name="Dion3, Alain (SPAC/PSPC) (il-lui / he-him)" userId="b5972ad0-fee1-4393-9fd4-8bc589782ac7" providerId="ADAL" clId="{3ACCABA1-D66F-4904-8251-B355270E7CFD}" dt="2024-10-28T13:32:15.458" v="152" actId="790"/>
          <ac:spMkLst>
            <pc:docMk/>
            <pc:sldMk cId="2643018674" sldId="5164"/>
            <ac:spMk id="46" creationId="{E05CDB04-758F-A16E-0C7C-81482A944D84}"/>
          </ac:spMkLst>
        </pc:spChg>
        <pc:spChg chg="mod">
          <ac:chgData name="Dion3, Alain (SPAC/PSPC) (il-lui / he-him)" userId="b5972ad0-fee1-4393-9fd4-8bc589782ac7" providerId="ADAL" clId="{3ACCABA1-D66F-4904-8251-B355270E7CFD}" dt="2024-10-28T13:32:15.458" v="152" actId="790"/>
          <ac:spMkLst>
            <pc:docMk/>
            <pc:sldMk cId="2643018674" sldId="5164"/>
            <ac:spMk id="47" creationId="{41D15CB2-0185-C50E-B34A-7DC9BAFEC86E}"/>
          </ac:spMkLst>
        </pc:spChg>
        <pc:spChg chg="mod">
          <ac:chgData name="Dion3, Alain (SPAC/PSPC) (il-lui / he-him)" userId="b5972ad0-fee1-4393-9fd4-8bc589782ac7" providerId="ADAL" clId="{3ACCABA1-D66F-4904-8251-B355270E7CFD}" dt="2024-10-28T13:32:15.458" v="152" actId="790"/>
          <ac:spMkLst>
            <pc:docMk/>
            <pc:sldMk cId="2643018674" sldId="5164"/>
            <ac:spMk id="48" creationId="{75E7B4C9-F60F-E60D-1203-37883966A6FD}"/>
          </ac:spMkLst>
        </pc:spChg>
        <pc:spChg chg="mod">
          <ac:chgData name="Dion3, Alain (SPAC/PSPC) (il-lui / he-him)" userId="b5972ad0-fee1-4393-9fd4-8bc589782ac7" providerId="ADAL" clId="{3ACCABA1-D66F-4904-8251-B355270E7CFD}" dt="2024-10-28T13:32:15.458" v="152" actId="790"/>
          <ac:spMkLst>
            <pc:docMk/>
            <pc:sldMk cId="2643018674" sldId="5164"/>
            <ac:spMk id="49" creationId="{467CA39C-152F-D143-16E6-F0AEBF1F0EF6}"/>
          </ac:spMkLst>
        </pc:spChg>
        <pc:spChg chg="mod">
          <ac:chgData name="Dion3, Alain (SPAC/PSPC) (il-lui / he-him)" userId="b5972ad0-fee1-4393-9fd4-8bc589782ac7" providerId="ADAL" clId="{3ACCABA1-D66F-4904-8251-B355270E7CFD}" dt="2024-10-28T13:32:15.458" v="152" actId="790"/>
          <ac:spMkLst>
            <pc:docMk/>
            <pc:sldMk cId="2643018674" sldId="5164"/>
            <ac:spMk id="50" creationId="{169AFF5D-67CE-AA9F-C71D-910F3D59E065}"/>
          </ac:spMkLst>
        </pc:spChg>
        <pc:spChg chg="mod">
          <ac:chgData name="Dion3, Alain (SPAC/PSPC) (il-lui / he-him)" userId="b5972ad0-fee1-4393-9fd4-8bc589782ac7" providerId="ADAL" clId="{3ACCABA1-D66F-4904-8251-B355270E7CFD}" dt="2024-10-28T13:32:15.458" v="152" actId="790"/>
          <ac:spMkLst>
            <pc:docMk/>
            <pc:sldMk cId="2643018674" sldId="5164"/>
            <ac:spMk id="51" creationId="{17644F83-71B6-9560-AF3E-09A8872C809B}"/>
          </ac:spMkLst>
        </pc:spChg>
        <pc:spChg chg="mod">
          <ac:chgData name="Dion3, Alain (SPAC/PSPC) (il-lui / he-him)" userId="b5972ad0-fee1-4393-9fd4-8bc589782ac7" providerId="ADAL" clId="{3ACCABA1-D66F-4904-8251-B355270E7CFD}" dt="2024-10-28T13:32:15.458" v="152" actId="790"/>
          <ac:spMkLst>
            <pc:docMk/>
            <pc:sldMk cId="2643018674" sldId="5164"/>
            <ac:spMk id="52" creationId="{D9375901-672F-F732-57F8-D153D824344D}"/>
          </ac:spMkLst>
        </pc:spChg>
        <pc:spChg chg="mod">
          <ac:chgData name="Dion3, Alain (SPAC/PSPC) (il-lui / he-him)" userId="b5972ad0-fee1-4393-9fd4-8bc589782ac7" providerId="ADAL" clId="{3ACCABA1-D66F-4904-8251-B355270E7CFD}" dt="2024-10-28T13:32:15.458" v="152" actId="790"/>
          <ac:spMkLst>
            <pc:docMk/>
            <pc:sldMk cId="2643018674" sldId="5164"/>
            <ac:spMk id="53" creationId="{B9F6722B-6928-3A6A-BBB8-231A8B9E3259}"/>
          </ac:spMkLst>
        </pc:spChg>
        <pc:spChg chg="mod">
          <ac:chgData name="Dion3, Alain (SPAC/PSPC) (il-lui / he-him)" userId="b5972ad0-fee1-4393-9fd4-8bc589782ac7" providerId="ADAL" clId="{3ACCABA1-D66F-4904-8251-B355270E7CFD}" dt="2024-10-28T13:32:15.458" v="152" actId="790"/>
          <ac:spMkLst>
            <pc:docMk/>
            <pc:sldMk cId="2643018674" sldId="5164"/>
            <ac:spMk id="54" creationId="{15F08EEC-C863-3F61-556F-64BE7ED31590}"/>
          </ac:spMkLst>
        </pc:spChg>
        <pc:spChg chg="mod">
          <ac:chgData name="Dion3, Alain (SPAC/PSPC) (il-lui / he-him)" userId="b5972ad0-fee1-4393-9fd4-8bc589782ac7" providerId="ADAL" clId="{3ACCABA1-D66F-4904-8251-B355270E7CFD}" dt="2024-10-28T13:32:15.458" v="152" actId="790"/>
          <ac:spMkLst>
            <pc:docMk/>
            <pc:sldMk cId="2643018674" sldId="5164"/>
            <ac:spMk id="55" creationId="{731C5ADA-D8AA-6942-B963-257CD97AA0F9}"/>
          </ac:spMkLst>
        </pc:spChg>
        <pc:spChg chg="mod">
          <ac:chgData name="Dion3, Alain (SPAC/PSPC) (il-lui / he-him)" userId="b5972ad0-fee1-4393-9fd4-8bc589782ac7" providerId="ADAL" clId="{3ACCABA1-D66F-4904-8251-B355270E7CFD}" dt="2024-10-28T13:32:15.458" v="152" actId="790"/>
          <ac:spMkLst>
            <pc:docMk/>
            <pc:sldMk cId="2643018674" sldId="5164"/>
            <ac:spMk id="56" creationId="{6C95EF8D-478B-B864-D6F8-128D10DBE16A}"/>
          </ac:spMkLst>
        </pc:spChg>
        <pc:spChg chg="mod">
          <ac:chgData name="Dion3, Alain (SPAC/PSPC) (il-lui / he-him)" userId="b5972ad0-fee1-4393-9fd4-8bc589782ac7" providerId="ADAL" clId="{3ACCABA1-D66F-4904-8251-B355270E7CFD}" dt="2024-10-28T13:32:15.458" v="152" actId="790"/>
          <ac:spMkLst>
            <pc:docMk/>
            <pc:sldMk cId="2643018674" sldId="5164"/>
            <ac:spMk id="57" creationId="{816207AB-4332-E282-4740-48B60179E40B}"/>
          </ac:spMkLst>
        </pc:spChg>
        <pc:spChg chg="mod">
          <ac:chgData name="Dion3, Alain (SPAC/PSPC) (il-lui / he-him)" userId="b5972ad0-fee1-4393-9fd4-8bc589782ac7" providerId="ADAL" clId="{3ACCABA1-D66F-4904-8251-B355270E7CFD}" dt="2024-10-28T13:32:15.458" v="152" actId="790"/>
          <ac:spMkLst>
            <pc:docMk/>
            <pc:sldMk cId="2643018674" sldId="5164"/>
            <ac:spMk id="58" creationId="{DCF93223-AC8F-F71A-B2CD-96C59C41CF86}"/>
          </ac:spMkLst>
        </pc:spChg>
        <pc:spChg chg="mod">
          <ac:chgData name="Dion3, Alain (SPAC/PSPC) (il-lui / he-him)" userId="b5972ad0-fee1-4393-9fd4-8bc589782ac7" providerId="ADAL" clId="{3ACCABA1-D66F-4904-8251-B355270E7CFD}" dt="2024-10-28T13:32:15.458" v="152" actId="790"/>
          <ac:spMkLst>
            <pc:docMk/>
            <pc:sldMk cId="2643018674" sldId="5164"/>
            <ac:spMk id="59" creationId="{EA713421-7FA7-25D0-032C-C974F1F3841F}"/>
          </ac:spMkLst>
        </pc:spChg>
        <pc:spChg chg="mod">
          <ac:chgData name="Dion3, Alain (SPAC/PSPC) (il-lui / he-him)" userId="b5972ad0-fee1-4393-9fd4-8bc589782ac7" providerId="ADAL" clId="{3ACCABA1-D66F-4904-8251-B355270E7CFD}" dt="2024-10-28T13:32:15.458" v="152" actId="790"/>
          <ac:spMkLst>
            <pc:docMk/>
            <pc:sldMk cId="2643018674" sldId="5164"/>
            <ac:spMk id="60" creationId="{8A37BC0E-C32F-FF48-941E-D60AD0227F5D}"/>
          </ac:spMkLst>
        </pc:spChg>
        <pc:spChg chg="mod">
          <ac:chgData name="Dion3, Alain (SPAC/PSPC) (il-lui / he-him)" userId="b5972ad0-fee1-4393-9fd4-8bc589782ac7" providerId="ADAL" clId="{3ACCABA1-D66F-4904-8251-B355270E7CFD}" dt="2024-10-28T13:32:15.458" v="152" actId="790"/>
          <ac:spMkLst>
            <pc:docMk/>
            <pc:sldMk cId="2643018674" sldId="5164"/>
            <ac:spMk id="61" creationId="{3CC2548D-A9D4-809D-5138-69D680046072}"/>
          </ac:spMkLst>
        </pc:spChg>
        <pc:spChg chg="mod">
          <ac:chgData name="Dion3, Alain (SPAC/PSPC) (il-lui / he-him)" userId="b5972ad0-fee1-4393-9fd4-8bc589782ac7" providerId="ADAL" clId="{3ACCABA1-D66F-4904-8251-B355270E7CFD}" dt="2024-10-28T13:32:15.458" v="152" actId="790"/>
          <ac:spMkLst>
            <pc:docMk/>
            <pc:sldMk cId="2643018674" sldId="5164"/>
            <ac:spMk id="62" creationId="{308C2919-034B-E990-F46C-54F7529BB2C5}"/>
          </ac:spMkLst>
        </pc:spChg>
        <pc:spChg chg="mod">
          <ac:chgData name="Dion3, Alain (SPAC/PSPC) (il-lui / he-him)" userId="b5972ad0-fee1-4393-9fd4-8bc589782ac7" providerId="ADAL" clId="{3ACCABA1-D66F-4904-8251-B355270E7CFD}" dt="2024-10-28T13:32:15.458" v="152" actId="790"/>
          <ac:spMkLst>
            <pc:docMk/>
            <pc:sldMk cId="2643018674" sldId="5164"/>
            <ac:spMk id="63" creationId="{DA5F4491-E61A-07F2-0208-60274B9E6707}"/>
          </ac:spMkLst>
        </pc:spChg>
        <pc:spChg chg="mod">
          <ac:chgData name="Dion3, Alain (SPAC/PSPC) (il-lui / he-him)" userId="b5972ad0-fee1-4393-9fd4-8bc589782ac7" providerId="ADAL" clId="{3ACCABA1-D66F-4904-8251-B355270E7CFD}" dt="2024-10-28T13:32:15.458" v="152" actId="790"/>
          <ac:spMkLst>
            <pc:docMk/>
            <pc:sldMk cId="2643018674" sldId="5164"/>
            <ac:spMk id="64" creationId="{07095B1B-CF08-8CAF-A324-30985537A043}"/>
          </ac:spMkLst>
        </pc:spChg>
        <pc:spChg chg="mod">
          <ac:chgData name="Dion3, Alain (SPAC/PSPC) (il-lui / he-him)" userId="b5972ad0-fee1-4393-9fd4-8bc589782ac7" providerId="ADAL" clId="{3ACCABA1-D66F-4904-8251-B355270E7CFD}" dt="2024-10-28T13:32:15.458" v="152" actId="790"/>
          <ac:spMkLst>
            <pc:docMk/>
            <pc:sldMk cId="2643018674" sldId="5164"/>
            <ac:spMk id="65" creationId="{63DCCFF5-A839-38FB-1D37-132A92D472C1}"/>
          </ac:spMkLst>
        </pc:spChg>
        <pc:spChg chg="mod">
          <ac:chgData name="Dion3, Alain (SPAC/PSPC) (il-lui / he-him)" userId="b5972ad0-fee1-4393-9fd4-8bc589782ac7" providerId="ADAL" clId="{3ACCABA1-D66F-4904-8251-B355270E7CFD}" dt="2024-10-28T13:32:15.458" v="152" actId="790"/>
          <ac:spMkLst>
            <pc:docMk/>
            <pc:sldMk cId="2643018674" sldId="5164"/>
            <ac:spMk id="66" creationId="{244FED0A-5548-C9BD-83C4-8A71A61A4405}"/>
          </ac:spMkLst>
        </pc:spChg>
        <pc:spChg chg="mod">
          <ac:chgData name="Dion3, Alain (SPAC/PSPC) (il-lui / he-him)" userId="b5972ad0-fee1-4393-9fd4-8bc589782ac7" providerId="ADAL" clId="{3ACCABA1-D66F-4904-8251-B355270E7CFD}" dt="2024-10-28T13:32:15.458" v="152" actId="790"/>
          <ac:spMkLst>
            <pc:docMk/>
            <pc:sldMk cId="2643018674" sldId="5164"/>
            <ac:spMk id="67" creationId="{B1258444-2B11-A1B0-2A18-A67A25E28034}"/>
          </ac:spMkLst>
        </pc:spChg>
        <pc:spChg chg="mod">
          <ac:chgData name="Dion3, Alain (SPAC/PSPC) (il-lui / he-him)" userId="b5972ad0-fee1-4393-9fd4-8bc589782ac7" providerId="ADAL" clId="{3ACCABA1-D66F-4904-8251-B355270E7CFD}" dt="2024-10-28T13:32:15.458" v="152" actId="790"/>
          <ac:spMkLst>
            <pc:docMk/>
            <pc:sldMk cId="2643018674" sldId="5164"/>
            <ac:spMk id="68" creationId="{AF06FDE0-3596-1A96-94A8-B82FAFB78ACC}"/>
          </ac:spMkLst>
        </pc:spChg>
        <pc:spChg chg="mod">
          <ac:chgData name="Dion3, Alain (SPAC/PSPC) (il-lui / he-him)" userId="b5972ad0-fee1-4393-9fd4-8bc589782ac7" providerId="ADAL" clId="{3ACCABA1-D66F-4904-8251-B355270E7CFD}" dt="2024-10-28T13:32:15.458" v="152" actId="790"/>
          <ac:spMkLst>
            <pc:docMk/>
            <pc:sldMk cId="2643018674" sldId="5164"/>
            <ac:spMk id="69" creationId="{F4A13062-53F2-6F84-B496-2634DB2E87AF}"/>
          </ac:spMkLst>
        </pc:spChg>
        <pc:spChg chg="mod replST">
          <ac:chgData name="Dion3, Alain (SPAC/PSPC) (il-lui / he-him)" userId="b5972ad0-fee1-4393-9fd4-8bc589782ac7" providerId="ADAL" clId="{3ACCABA1-D66F-4904-8251-B355270E7CFD}" dt="2024-10-28T13:32:15.458" v="152" actId="790"/>
          <ac:spMkLst>
            <pc:docMk/>
            <pc:sldMk cId="2643018674" sldId="5164"/>
            <ac:spMk id="70" creationId="{48FE0CE4-8128-A030-4177-E94AA3CC9B94}"/>
          </ac:spMkLst>
        </pc:spChg>
        <pc:spChg chg="mod replST">
          <ac:chgData name="Dion3, Alain (SPAC/PSPC) (il-lui / he-him)" userId="b5972ad0-fee1-4393-9fd4-8bc589782ac7" providerId="ADAL" clId="{3ACCABA1-D66F-4904-8251-B355270E7CFD}" dt="2024-10-28T13:32:15.458" v="152" actId="790"/>
          <ac:spMkLst>
            <pc:docMk/>
            <pc:sldMk cId="2643018674" sldId="5164"/>
            <ac:spMk id="71" creationId="{7028C89E-7266-12B8-5E10-8C399FCFA7CF}"/>
          </ac:spMkLst>
        </pc:spChg>
        <pc:grpChg chg="replST">
          <ac:chgData name="Dion3, Alain (SPAC/PSPC) (il-lui / he-him)" userId="b5972ad0-fee1-4393-9fd4-8bc589782ac7" providerId="ADAL" clId="{3ACCABA1-D66F-4904-8251-B355270E7CFD}" dt="2024-10-28T13:31:14.170" v="28"/>
          <ac:grpSpMkLst>
            <pc:docMk/>
            <pc:sldMk cId="2643018674" sldId="5164"/>
            <ac:grpSpMk id="15" creationId="{8DA5BD1B-687F-A8E9-DD81-60E314CBA84F}"/>
          </ac:grpSpMkLst>
        </pc:grpChg>
        <pc:picChg chg="replST">
          <ac:chgData name="Dion3, Alain (SPAC/PSPC) (il-lui / he-him)" userId="b5972ad0-fee1-4393-9fd4-8bc589782ac7" providerId="ADAL" clId="{3ACCABA1-D66F-4904-8251-B355270E7CFD}" dt="2024-10-28T13:31:14.127" v="21"/>
          <ac:picMkLst>
            <pc:docMk/>
            <pc:sldMk cId="2643018674" sldId="5164"/>
            <ac:picMk id="2" creationId="{0E9612D6-45F7-B170-9554-337FDA335619}"/>
          </ac:picMkLst>
        </pc:picChg>
        <pc:extLst>
          <p:ext xmlns:p="http://schemas.openxmlformats.org/presentationml/2006/main" uri="{D6D511B9-2390-475A-947B-AFAB55BFBCF1}">
            <pc226:cmChg xmlns:pc226="http://schemas.microsoft.com/office/powerpoint/2022/06/main/command" chg="mod">
              <pc226:chgData name="Dion3, Alain (SPAC/PSPC) (il-lui / he-him)" userId="b5972ad0-fee1-4393-9fd4-8bc589782ac7" providerId="ADAL" clId="{3ACCABA1-D66F-4904-8251-B355270E7CFD}" dt="2024-10-28T13:38:53.205" v="223" actId="20577"/>
              <pc2:cmMkLst xmlns:pc2="http://schemas.microsoft.com/office/powerpoint/2019/9/main/command">
                <pc:docMk/>
                <pc:sldMk cId="2643018674" sldId="5164"/>
                <pc2:cmMk id="{7F132811-33D1-4F42-BA40-C42C7B67BD9D}"/>
              </pc2:cmMkLst>
            </pc226:cmChg>
            <pc226:cmChg xmlns:pc226="http://schemas.microsoft.com/office/powerpoint/2022/06/main/command" chg="add">
              <pc226:chgData name="Dion3, Alain (SPAC/PSPC) (il-lui / he-him)" userId="b5972ad0-fee1-4393-9fd4-8bc589782ac7" providerId="ADAL" clId="{3ACCABA1-D66F-4904-8251-B355270E7CFD}" dt="2024-10-28T14:11:40.919" v="224"/>
              <pc2:cmMkLst xmlns:pc2="http://schemas.microsoft.com/office/powerpoint/2019/9/main/command">
                <pc:docMk/>
                <pc:sldMk cId="2643018674" sldId="5164"/>
                <pc2:cmMk id="{9E510EFD-2298-4A0C-A76D-26C5E8A92981}"/>
              </pc2:cmMkLst>
            </pc226:cmChg>
          </p:ext>
        </pc:extLst>
      </pc:sldChg>
      <pc:sldChg chg="modSp mod">
        <pc:chgData name="Dion3, Alain (SPAC/PSPC) (il-lui / he-him)" userId="b5972ad0-fee1-4393-9fd4-8bc589782ac7" providerId="ADAL" clId="{3ACCABA1-D66F-4904-8251-B355270E7CFD}" dt="2024-10-28T14:12:58.783" v="230" actId="20577"/>
        <pc:sldMkLst>
          <pc:docMk/>
          <pc:sldMk cId="951449358" sldId="5166"/>
        </pc:sldMkLst>
        <pc:spChg chg="replST">
          <ac:chgData name="Dion3, Alain (SPAC/PSPC) (il-lui / he-him)" userId="b5972ad0-fee1-4393-9fd4-8bc589782ac7" providerId="ADAL" clId="{3ACCABA1-D66F-4904-8251-B355270E7CFD}" dt="2024-10-28T13:31:14.187" v="31"/>
          <ac:spMkLst>
            <pc:docMk/>
            <pc:sldMk cId="951449358" sldId="5166"/>
            <ac:spMk id="3" creationId="{41BE6B50-88EB-D2A5-67D3-AD36A9027E26}"/>
          </ac:spMkLst>
        </pc:spChg>
        <pc:spChg chg="replST">
          <ac:chgData name="Dion3, Alain (SPAC/PSPC) (il-lui / he-him)" userId="b5972ad0-fee1-4393-9fd4-8bc589782ac7" providerId="ADAL" clId="{3ACCABA1-D66F-4904-8251-B355270E7CFD}" dt="2024-10-28T13:31:14.204" v="34"/>
          <ac:spMkLst>
            <pc:docMk/>
            <pc:sldMk cId="951449358" sldId="5166"/>
            <ac:spMk id="12" creationId="{B5E05B46-CF1C-10E8-CF27-43FD5B4CD2B6}"/>
          </ac:spMkLst>
        </pc:spChg>
        <pc:spChg chg="replST">
          <ac:chgData name="Dion3, Alain (SPAC/PSPC) (il-lui / he-him)" userId="b5972ad0-fee1-4393-9fd4-8bc589782ac7" providerId="ADAL" clId="{3ACCABA1-D66F-4904-8251-B355270E7CFD}" dt="2024-10-28T13:31:14.210" v="35"/>
          <ac:spMkLst>
            <pc:docMk/>
            <pc:sldMk cId="951449358" sldId="5166"/>
            <ac:spMk id="13" creationId="{24D3B48C-3E45-5072-0313-084DCF56D01C}"/>
          </ac:spMkLst>
        </pc:spChg>
        <pc:spChg chg="replST">
          <ac:chgData name="Dion3, Alain (SPAC/PSPC) (il-lui / he-him)" userId="b5972ad0-fee1-4393-9fd4-8bc589782ac7" providerId="ADAL" clId="{3ACCABA1-D66F-4904-8251-B355270E7CFD}" dt="2024-10-28T13:31:14.217" v="36"/>
          <ac:spMkLst>
            <pc:docMk/>
            <pc:sldMk cId="951449358" sldId="5166"/>
            <ac:spMk id="14" creationId="{D8AE10C8-3898-213E-7C33-47F8EE2CB0CA}"/>
          </ac:spMkLst>
        </pc:spChg>
        <pc:spChg chg="replST">
          <ac:chgData name="Dion3, Alain (SPAC/PSPC) (il-lui / he-him)" userId="b5972ad0-fee1-4393-9fd4-8bc589782ac7" providerId="ADAL" clId="{3ACCABA1-D66F-4904-8251-B355270E7CFD}" dt="2024-10-28T13:31:14.224" v="37"/>
          <ac:spMkLst>
            <pc:docMk/>
            <pc:sldMk cId="951449358" sldId="5166"/>
            <ac:spMk id="15" creationId="{250D293B-CD7C-D21D-0290-87DD62438189}"/>
          </ac:spMkLst>
        </pc:spChg>
        <pc:spChg chg="replST">
          <ac:chgData name="Dion3, Alain (SPAC/PSPC) (il-lui / he-him)" userId="b5972ad0-fee1-4393-9fd4-8bc589782ac7" providerId="ADAL" clId="{3ACCABA1-D66F-4904-8251-B355270E7CFD}" dt="2024-10-28T13:31:14.230" v="38"/>
          <ac:spMkLst>
            <pc:docMk/>
            <pc:sldMk cId="951449358" sldId="5166"/>
            <ac:spMk id="16" creationId="{491B984F-4AFE-70B5-52DF-3AC5E21CC468}"/>
          </ac:spMkLst>
        </pc:spChg>
        <pc:spChg chg="replST">
          <ac:chgData name="Dion3, Alain (SPAC/PSPC) (il-lui / he-him)" userId="b5972ad0-fee1-4393-9fd4-8bc589782ac7" providerId="ADAL" clId="{3ACCABA1-D66F-4904-8251-B355270E7CFD}" dt="2024-10-28T13:31:14.248" v="41"/>
          <ac:spMkLst>
            <pc:docMk/>
            <pc:sldMk cId="951449358" sldId="5166"/>
            <ac:spMk id="19" creationId="{F04B82CF-8286-8190-4CBE-7BDA4BB27B00}"/>
          </ac:spMkLst>
        </pc:spChg>
        <pc:spChg chg="replST">
          <ac:chgData name="Dion3, Alain (SPAC/PSPC) (il-lui / he-him)" userId="b5972ad0-fee1-4393-9fd4-8bc589782ac7" providerId="ADAL" clId="{3ACCABA1-D66F-4904-8251-B355270E7CFD}" dt="2024-10-28T13:31:14.260" v="43"/>
          <ac:spMkLst>
            <pc:docMk/>
            <pc:sldMk cId="951449358" sldId="5166"/>
            <ac:spMk id="26" creationId="{3EB05C5D-2B3E-2DE3-4C8F-BD63A7AFA07B}"/>
          </ac:spMkLst>
        </pc:spChg>
        <pc:spChg chg="replST">
          <ac:chgData name="Dion3, Alain (SPAC/PSPC) (il-lui / he-him)" userId="b5972ad0-fee1-4393-9fd4-8bc589782ac7" providerId="ADAL" clId="{3ACCABA1-D66F-4904-8251-B355270E7CFD}" dt="2024-10-28T13:31:14.266" v="44"/>
          <ac:spMkLst>
            <pc:docMk/>
            <pc:sldMk cId="951449358" sldId="5166"/>
            <ac:spMk id="27" creationId="{57DEDA11-4574-71ED-2E61-C7774C243B21}"/>
          </ac:spMkLst>
        </pc:spChg>
        <pc:spChg chg="mod replST">
          <ac:chgData name="Dion3, Alain (SPAC/PSPC) (il-lui / he-him)" userId="b5972ad0-fee1-4393-9fd4-8bc589782ac7" providerId="ADAL" clId="{3ACCABA1-D66F-4904-8251-B355270E7CFD}" dt="2024-10-28T14:12:58.783" v="230" actId="20577"/>
          <ac:spMkLst>
            <pc:docMk/>
            <pc:sldMk cId="951449358" sldId="5166"/>
            <ac:spMk id="28" creationId="{59447730-6FE7-EC4E-D82B-4CDD47E25598}"/>
          </ac:spMkLst>
        </pc:spChg>
        <pc:spChg chg="replST">
          <ac:chgData name="Dion3, Alain (SPAC/PSPC) (il-lui / he-him)" userId="b5972ad0-fee1-4393-9fd4-8bc589782ac7" providerId="ADAL" clId="{3ACCABA1-D66F-4904-8251-B355270E7CFD}" dt="2024-10-28T13:31:14.278" v="46"/>
          <ac:spMkLst>
            <pc:docMk/>
            <pc:sldMk cId="951449358" sldId="5166"/>
            <ac:spMk id="29" creationId="{553F35BF-1795-942C-7210-1F70701F738A}"/>
          </ac:spMkLst>
        </pc:spChg>
        <pc:spChg chg="replST">
          <ac:chgData name="Dion3, Alain (SPAC/PSPC) (il-lui / he-him)" userId="b5972ad0-fee1-4393-9fd4-8bc589782ac7" providerId="ADAL" clId="{3ACCABA1-D66F-4904-8251-B355270E7CFD}" dt="2024-10-28T13:31:14.284" v="47"/>
          <ac:spMkLst>
            <pc:docMk/>
            <pc:sldMk cId="951449358" sldId="5166"/>
            <ac:spMk id="30" creationId="{CF803FF0-F5AD-09EE-E848-7158D9ECA15B}"/>
          </ac:spMkLst>
        </pc:spChg>
        <pc:spChg chg="replST">
          <ac:chgData name="Dion3, Alain (SPAC/PSPC) (il-lui / he-him)" userId="b5972ad0-fee1-4393-9fd4-8bc589782ac7" providerId="ADAL" clId="{3ACCABA1-D66F-4904-8251-B355270E7CFD}" dt="2024-10-28T13:31:14.325" v="51"/>
          <ac:spMkLst>
            <pc:docMk/>
            <pc:sldMk cId="951449358" sldId="5166"/>
            <ac:spMk id="37" creationId="{04E6FCF7-DB94-8921-A44C-934B7E940C36}"/>
          </ac:spMkLst>
        </pc:spChg>
        <pc:spChg chg="replST">
          <ac:chgData name="Dion3, Alain (SPAC/PSPC) (il-lui / he-him)" userId="b5972ad0-fee1-4393-9fd4-8bc589782ac7" providerId="ADAL" clId="{3ACCABA1-D66F-4904-8251-B355270E7CFD}" dt="2024-10-28T13:31:14.182" v="30"/>
          <ac:spMkLst>
            <pc:docMk/>
            <pc:sldMk cId="951449358" sldId="5166"/>
            <ac:spMk id="38" creationId="{E109C5DE-2F60-F210-2203-131E1C4A07EF}"/>
          </ac:spMkLst>
        </pc:spChg>
        <pc:grpChg chg="replST">
          <ac:chgData name="Dion3, Alain (SPAC/PSPC) (il-lui / he-him)" userId="b5972ad0-fee1-4393-9fd4-8bc589782ac7" providerId="ADAL" clId="{3ACCABA1-D66F-4904-8251-B355270E7CFD}" dt="2024-10-28T13:31:14.198" v="33"/>
          <ac:grpSpMkLst>
            <pc:docMk/>
            <pc:sldMk cId="951449358" sldId="5166"/>
            <ac:grpSpMk id="6" creationId="{836673FF-D0BB-C36D-C2D5-F3A93BF20D2F}"/>
          </ac:grpSpMkLst>
        </pc:grpChg>
        <pc:grpChg chg="replST">
          <ac:chgData name="Dion3, Alain (SPAC/PSPC) (il-lui / he-him)" userId="b5972ad0-fee1-4393-9fd4-8bc589782ac7" providerId="ADAL" clId="{3ACCABA1-D66F-4904-8251-B355270E7CFD}" dt="2024-10-28T13:31:14.254" v="42"/>
          <ac:grpSpMkLst>
            <pc:docMk/>
            <pc:sldMk cId="951449358" sldId="5166"/>
            <ac:grpSpMk id="20" creationId="{DCF7A223-1B46-DCE0-C185-178B672ADE30}"/>
          </ac:grpSpMkLst>
        </pc:grpChg>
        <pc:grpChg chg="replST">
          <ac:chgData name="Dion3, Alain (SPAC/PSPC) (il-lui / he-him)" userId="b5972ad0-fee1-4393-9fd4-8bc589782ac7" providerId="ADAL" clId="{3ACCABA1-D66F-4904-8251-B355270E7CFD}" dt="2024-10-28T13:31:14.317" v="50"/>
          <ac:grpSpMkLst>
            <pc:docMk/>
            <pc:sldMk cId="951449358" sldId="5166"/>
            <ac:grpSpMk id="33" creationId="{769F25D5-0ACE-A2D5-150F-32E72CA3FC17}"/>
          </ac:grpSpMkLst>
        </pc:grpChg>
        <pc:picChg chg="replST">
          <ac:chgData name="Dion3, Alain (SPAC/PSPC) (il-lui / he-him)" userId="b5972ad0-fee1-4393-9fd4-8bc589782ac7" providerId="ADAL" clId="{3ACCABA1-D66F-4904-8251-B355270E7CFD}" dt="2024-10-28T13:31:14.192" v="32"/>
          <ac:picMkLst>
            <pc:docMk/>
            <pc:sldMk cId="951449358" sldId="5166"/>
            <ac:picMk id="2" creationId="{0E9612D6-45F7-B170-9554-337FDA335619}"/>
          </ac:picMkLst>
        </pc:picChg>
        <pc:picChg chg="replST">
          <ac:chgData name="Dion3, Alain (SPAC/PSPC) (il-lui / he-him)" userId="b5972ad0-fee1-4393-9fd4-8bc589782ac7" providerId="ADAL" clId="{3ACCABA1-D66F-4904-8251-B355270E7CFD}" dt="2024-10-28T13:31:14.236" v="39"/>
          <ac:picMkLst>
            <pc:docMk/>
            <pc:sldMk cId="951449358" sldId="5166"/>
            <ac:picMk id="17" creationId="{275EB9EA-242E-E32A-7DF8-E542F80E1164}"/>
          </ac:picMkLst>
        </pc:picChg>
        <pc:picChg chg="replST">
          <ac:chgData name="Dion3, Alain (SPAC/PSPC) (il-lui / he-him)" userId="b5972ad0-fee1-4393-9fd4-8bc589782ac7" providerId="ADAL" clId="{3ACCABA1-D66F-4904-8251-B355270E7CFD}" dt="2024-10-28T13:31:14.242" v="40"/>
          <ac:picMkLst>
            <pc:docMk/>
            <pc:sldMk cId="951449358" sldId="5166"/>
            <ac:picMk id="18" creationId="{82BBBD58-FA6F-6EC8-AECE-391F7F6F74D3}"/>
          </ac:picMkLst>
        </pc:picChg>
        <pc:picChg chg="replST">
          <ac:chgData name="Dion3, Alain (SPAC/PSPC) (il-lui / he-him)" userId="b5972ad0-fee1-4393-9fd4-8bc589782ac7" providerId="ADAL" clId="{3ACCABA1-D66F-4904-8251-B355270E7CFD}" dt="2024-10-28T13:31:14.302" v="48"/>
          <ac:picMkLst>
            <pc:docMk/>
            <pc:sldMk cId="951449358" sldId="5166"/>
            <ac:picMk id="31" creationId="{584F3591-1389-AFE2-9988-630538612733}"/>
          </ac:picMkLst>
        </pc:picChg>
        <pc:picChg chg="replST">
          <ac:chgData name="Dion3, Alain (SPAC/PSPC) (il-lui / he-him)" userId="b5972ad0-fee1-4393-9fd4-8bc589782ac7" providerId="ADAL" clId="{3ACCABA1-D66F-4904-8251-B355270E7CFD}" dt="2024-10-28T13:31:14.310" v="49"/>
          <ac:picMkLst>
            <pc:docMk/>
            <pc:sldMk cId="951449358" sldId="5166"/>
            <ac:picMk id="32" creationId="{FDF20F69-3197-FD5C-05EB-9E1AC0557767}"/>
          </ac:picMkLst>
        </pc:picChg>
      </pc:sldChg>
      <pc:sldChg chg="modSp mod addCm">
        <pc:chgData name="Dion3, Alain (SPAC/PSPC) (il-lui / he-him)" userId="b5972ad0-fee1-4393-9fd4-8bc589782ac7" providerId="ADAL" clId="{3ACCABA1-D66F-4904-8251-B355270E7CFD}" dt="2024-10-28T15:00:23.249" v="538"/>
        <pc:sldMkLst>
          <pc:docMk/>
          <pc:sldMk cId="2106271575" sldId="5167"/>
        </pc:sldMkLst>
        <pc:spChg chg="mod replST">
          <ac:chgData name="Dion3, Alain (SPAC/PSPC) (il-lui / he-him)" userId="b5972ad0-fee1-4393-9fd4-8bc589782ac7" providerId="ADAL" clId="{3ACCABA1-D66F-4904-8251-B355270E7CFD}" dt="2024-10-28T14:58:16.900" v="537" actId="790"/>
          <ac:spMkLst>
            <pc:docMk/>
            <pc:sldMk cId="2106271575" sldId="5167"/>
            <ac:spMk id="2" creationId="{0DA1C67A-4FAB-556C-5C8D-241597F9DA1B}"/>
          </ac:spMkLst>
        </pc:spChg>
        <pc:spChg chg="mod replST">
          <ac:chgData name="Dion3, Alain (SPAC/PSPC) (il-lui / he-him)" userId="b5972ad0-fee1-4393-9fd4-8bc589782ac7" providerId="ADAL" clId="{3ACCABA1-D66F-4904-8251-B355270E7CFD}" dt="2024-10-28T14:58:16.900" v="537" actId="790"/>
          <ac:spMkLst>
            <pc:docMk/>
            <pc:sldMk cId="2106271575" sldId="5167"/>
            <ac:spMk id="4" creationId="{6E84A27E-2844-316E-6672-1236545BDBDC}"/>
          </ac:spMkLst>
        </pc:spChg>
        <pc:spChg chg="mod replST">
          <ac:chgData name="Dion3, Alain (SPAC/PSPC) (il-lui / he-him)" userId="b5972ad0-fee1-4393-9fd4-8bc589782ac7" providerId="ADAL" clId="{3ACCABA1-D66F-4904-8251-B355270E7CFD}" dt="2024-10-28T14:58:16.900" v="537" actId="790"/>
          <ac:spMkLst>
            <pc:docMk/>
            <pc:sldMk cId="2106271575" sldId="5167"/>
            <ac:spMk id="7" creationId="{35341F70-17E8-89A5-84EF-DA67A9FDF4D9}"/>
          </ac:spMkLst>
        </pc:spChg>
        <pc:spChg chg="mod replST">
          <ac:chgData name="Dion3, Alain (SPAC/PSPC) (il-lui / he-him)" userId="b5972ad0-fee1-4393-9fd4-8bc589782ac7" providerId="ADAL" clId="{3ACCABA1-D66F-4904-8251-B355270E7CFD}" dt="2024-10-28T14:58:16.900" v="537" actId="790"/>
          <ac:spMkLst>
            <pc:docMk/>
            <pc:sldMk cId="2106271575" sldId="5167"/>
            <ac:spMk id="12" creationId="{9E7EA0FB-96DA-D309-DAD0-3AA33FFD40BB}"/>
          </ac:spMkLst>
        </pc:spChg>
        <pc:picChg chg="replST">
          <ac:chgData name="Dion3, Alain (SPAC/PSPC) (il-lui / he-him)" userId="b5972ad0-fee1-4393-9fd4-8bc589782ac7" providerId="ADAL" clId="{3ACCABA1-D66F-4904-8251-B355270E7CFD}" dt="2024-10-28T13:31:14.925" v="146"/>
          <ac:picMkLst>
            <pc:docMk/>
            <pc:sldMk cId="2106271575" sldId="5167"/>
            <ac:picMk id="3" creationId="{FA486D70-CC58-8A4B-29FE-3602F3FC2401}"/>
          </ac:picMkLst>
        </pc:picChg>
        <pc:picChg chg="replST">
          <ac:chgData name="Dion3, Alain (SPAC/PSPC) (il-lui / he-him)" userId="b5972ad0-fee1-4393-9fd4-8bc589782ac7" providerId="ADAL" clId="{3ACCABA1-D66F-4904-8251-B355270E7CFD}" dt="2024-10-28T13:31:14.931" v="147"/>
          <ac:picMkLst>
            <pc:docMk/>
            <pc:sldMk cId="2106271575" sldId="5167"/>
            <ac:picMk id="6" creationId="{ECCA0B59-DF14-4002-3BE9-97B46FAEC121}"/>
          </ac:picMkLst>
        </pc:picChg>
        <pc:picChg chg="replST">
          <ac:chgData name="Dion3, Alain (SPAC/PSPC) (il-lui / he-him)" userId="b5972ad0-fee1-4393-9fd4-8bc589782ac7" providerId="ADAL" clId="{3ACCABA1-D66F-4904-8251-B355270E7CFD}" dt="2024-10-28T13:31:14.943" v="149"/>
          <ac:picMkLst>
            <pc:docMk/>
            <pc:sldMk cId="2106271575" sldId="5167"/>
            <ac:picMk id="11" creationId="{34E26041-226E-BB54-F354-A606DDC5B170}"/>
          </ac:picMkLst>
        </pc:picChg>
        <pc:extLst>
          <p:ext xmlns:p="http://schemas.openxmlformats.org/presentationml/2006/main" uri="{D6D511B9-2390-475A-947B-AFAB55BFBCF1}">
            <pc226:cmChg xmlns:pc226="http://schemas.microsoft.com/office/powerpoint/2022/06/main/command" chg="add">
              <pc226:chgData name="Dion3, Alain (SPAC/PSPC) (il-lui / he-him)" userId="b5972ad0-fee1-4393-9fd4-8bc589782ac7" providerId="ADAL" clId="{3ACCABA1-D66F-4904-8251-B355270E7CFD}" dt="2024-10-28T15:00:23.249" v="538"/>
              <pc2:cmMkLst xmlns:pc2="http://schemas.microsoft.com/office/powerpoint/2019/9/main/command">
                <pc:docMk/>
                <pc:sldMk cId="2106271575" sldId="5167"/>
                <pc2:cmMk id="{6A66DB58-6306-43CE-9B8B-A56F6AF56B94}"/>
              </pc2:cmMkLst>
            </pc226:cmChg>
          </p:ext>
        </pc:extLst>
      </pc:sldChg>
      <pc:sldChg chg="modSp mod">
        <pc:chgData name="Dion3, Alain (SPAC/PSPC) (il-lui / he-him)" userId="b5972ad0-fee1-4393-9fd4-8bc589782ac7" providerId="ADAL" clId="{3ACCABA1-D66F-4904-8251-B355270E7CFD}" dt="2024-10-28T14:58:00.527" v="536" actId="20577"/>
        <pc:sldMkLst>
          <pc:docMk/>
          <pc:sldMk cId="3254786999" sldId="5168"/>
        </pc:sldMkLst>
        <pc:spChg chg="mod replST">
          <ac:chgData name="Dion3, Alain (SPAC/PSPC) (il-lui / he-him)" userId="b5972ad0-fee1-4393-9fd4-8bc589782ac7" providerId="ADAL" clId="{3ACCABA1-D66F-4904-8251-B355270E7CFD}" dt="2024-10-28T14:57:44.230" v="533" actId="790"/>
          <ac:spMkLst>
            <pc:docMk/>
            <pc:sldMk cId="3254786999" sldId="5168"/>
            <ac:spMk id="2" creationId="{0DA1C67A-4FAB-556C-5C8D-241597F9DA1B}"/>
          </ac:spMkLst>
        </pc:spChg>
        <pc:spChg chg="mod replST">
          <ac:chgData name="Dion3, Alain (SPAC/PSPC) (il-lui / he-him)" userId="b5972ad0-fee1-4393-9fd4-8bc589782ac7" providerId="ADAL" clId="{3ACCABA1-D66F-4904-8251-B355270E7CFD}" dt="2024-10-28T14:57:44.230" v="533" actId="790"/>
          <ac:spMkLst>
            <pc:docMk/>
            <pc:sldMk cId="3254786999" sldId="5168"/>
            <ac:spMk id="4" creationId="{6E84A27E-2844-316E-6672-1236545BDBDC}"/>
          </ac:spMkLst>
        </pc:spChg>
        <pc:spChg chg="mod replST">
          <ac:chgData name="Dion3, Alain (SPAC/PSPC) (il-lui / he-him)" userId="b5972ad0-fee1-4393-9fd4-8bc589782ac7" providerId="ADAL" clId="{3ACCABA1-D66F-4904-8251-B355270E7CFD}" dt="2024-10-28T14:58:00.527" v="536" actId="20577"/>
          <ac:spMkLst>
            <pc:docMk/>
            <pc:sldMk cId="3254786999" sldId="5168"/>
            <ac:spMk id="12" creationId="{49BC1508-1F65-AA39-033E-D60F15B261D2}"/>
          </ac:spMkLst>
        </pc:spChg>
        <pc:picChg chg="replST">
          <ac:chgData name="Dion3, Alain (SPAC/PSPC) (il-lui / he-him)" userId="b5972ad0-fee1-4393-9fd4-8bc589782ac7" providerId="ADAL" clId="{3ACCABA1-D66F-4904-8251-B355270E7CFD}" dt="2024-10-28T13:31:14.904" v="143"/>
          <ac:picMkLst>
            <pc:docMk/>
            <pc:sldMk cId="3254786999" sldId="5168"/>
            <ac:picMk id="3" creationId="{FA486D70-CC58-8A4B-29FE-3602F3FC2401}"/>
          </ac:picMkLst>
        </pc:picChg>
      </pc:sldChg>
      <pc:sldChg chg="modSp mod">
        <pc:chgData name="Dion3, Alain (SPAC/PSPC) (il-lui / he-him)" userId="b5972ad0-fee1-4393-9fd4-8bc589782ac7" providerId="ADAL" clId="{3ACCABA1-D66F-4904-8251-B355270E7CFD}" dt="2024-10-28T13:31:14.393" v="61"/>
        <pc:sldMkLst>
          <pc:docMk/>
          <pc:sldMk cId="775145580" sldId="5170"/>
        </pc:sldMkLst>
        <pc:spChg chg="replST">
          <ac:chgData name="Dion3, Alain (SPAC/PSPC) (il-lui / he-him)" userId="b5972ad0-fee1-4393-9fd4-8bc589782ac7" providerId="ADAL" clId="{3ACCABA1-D66F-4904-8251-B355270E7CFD}" dt="2024-10-28T13:31:14.393" v="61"/>
          <ac:spMkLst>
            <pc:docMk/>
            <pc:sldMk cId="775145580" sldId="5170"/>
            <ac:spMk id="4" creationId="{7D0AA24E-8F9C-5384-47ED-0C5CBF0D2122}"/>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ata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DEA71D-90D8-473D-9385-DE54761F8672}" type="doc">
      <dgm:prSet loTypeId="urn:microsoft.com/office/officeart/2005/8/layout/vList4" loCatId="list" qsTypeId="urn:microsoft.com/office/officeart/2005/8/quickstyle/simple1" qsCatId="simple" csTypeId="urn:microsoft.com/office/officeart/2005/8/colors/accent0_1" csCatId="mainScheme" phldr="1"/>
      <dgm:spPr/>
      <dgm:t>
        <a:bodyPr/>
        <a:lstStyle/>
        <a:p>
          <a:endParaRPr lang="fr-CA"/>
        </a:p>
      </dgm:t>
    </dgm:pt>
    <dgm:pt modelId="{A0EFD81D-DFB5-4522-9915-59F27FAA4567}">
      <dgm:prSet phldrT="[Texte]"/>
      <dgm:spPr/>
      <dgm:t>
        <a:bodyPr/>
        <a:lstStyle/>
        <a:p>
          <a:r>
            <a:rPr lang="fr-CA"/>
            <a:t>Proposer un espace mieux adapté à nos tâches</a:t>
          </a:r>
        </a:p>
      </dgm:t>
    </dgm:pt>
    <dgm:pt modelId="{CFE85DD3-9783-47A5-8D10-76C6C3817669}" type="parTrans" cxnId="{473753B4-8426-4769-8EE5-B5AAAD192E8A}">
      <dgm:prSet/>
      <dgm:spPr/>
      <dgm:t>
        <a:bodyPr/>
        <a:lstStyle/>
        <a:p>
          <a:endParaRPr lang="fr-CA"/>
        </a:p>
      </dgm:t>
    </dgm:pt>
    <dgm:pt modelId="{4BF4C88B-0753-41C7-8C4E-20B4679EBE87}" type="sibTrans" cxnId="{473753B4-8426-4769-8EE5-B5AAAD192E8A}">
      <dgm:prSet/>
      <dgm:spPr/>
      <dgm:t>
        <a:bodyPr/>
        <a:lstStyle/>
        <a:p>
          <a:endParaRPr lang="fr-CA"/>
        </a:p>
      </dgm:t>
    </dgm:pt>
    <dgm:pt modelId="{044993C6-9AAC-46DA-85B9-4D823486783F}">
      <dgm:prSet phldrT="[Texte]"/>
      <dgm:spPr/>
      <dgm:t>
        <a:bodyPr/>
        <a:lstStyle/>
        <a:p>
          <a:r>
            <a:rPr lang="fr-CA" dirty="0"/>
            <a:t>Certains souhaitent profiter de leur présence au bureau pour collaborer en personne.</a:t>
          </a:r>
        </a:p>
      </dgm:t>
    </dgm:pt>
    <dgm:pt modelId="{C82DD76F-78BF-4BAF-872F-9AE7B3192316}" type="parTrans" cxnId="{29A1BD3A-37B2-4855-A79F-0FC1327D2780}">
      <dgm:prSet/>
      <dgm:spPr/>
      <dgm:t>
        <a:bodyPr/>
        <a:lstStyle/>
        <a:p>
          <a:endParaRPr lang="fr-CA"/>
        </a:p>
      </dgm:t>
    </dgm:pt>
    <dgm:pt modelId="{43FB2E63-A1A6-4993-81C5-6F2E2871C2FB}" type="sibTrans" cxnId="{29A1BD3A-37B2-4855-A79F-0FC1327D2780}">
      <dgm:prSet/>
      <dgm:spPr/>
      <dgm:t>
        <a:bodyPr/>
        <a:lstStyle/>
        <a:p>
          <a:endParaRPr lang="fr-CA"/>
        </a:p>
      </dgm:t>
    </dgm:pt>
    <dgm:pt modelId="{E6F05472-84B2-4040-844E-F7D13BBDDE07}">
      <dgm:prSet phldrT="[Texte]"/>
      <dgm:spPr/>
      <dgm:t>
        <a:bodyPr/>
        <a:lstStyle/>
        <a:p>
          <a:r>
            <a:rPr lang="fr-CA" dirty="0"/>
            <a:t>Certains ont besoin de tranquillité pour effectuer des tâches individuelles.</a:t>
          </a:r>
        </a:p>
      </dgm:t>
    </dgm:pt>
    <dgm:pt modelId="{506A388A-A412-4721-B42D-0480A1119E44}" type="parTrans" cxnId="{17763C12-2A6C-4FAA-882C-1D1BA75CF02C}">
      <dgm:prSet/>
      <dgm:spPr/>
      <dgm:t>
        <a:bodyPr/>
        <a:lstStyle/>
        <a:p>
          <a:endParaRPr lang="fr-CA"/>
        </a:p>
      </dgm:t>
    </dgm:pt>
    <dgm:pt modelId="{06C85065-9075-4E6B-A332-BEB26B12B061}" type="sibTrans" cxnId="{17763C12-2A6C-4FAA-882C-1D1BA75CF02C}">
      <dgm:prSet/>
      <dgm:spPr/>
      <dgm:t>
        <a:bodyPr/>
        <a:lstStyle/>
        <a:p>
          <a:endParaRPr lang="fr-CA"/>
        </a:p>
      </dgm:t>
    </dgm:pt>
    <dgm:pt modelId="{6EBC7762-69F6-455B-B81D-7E871660C10D}">
      <dgm:prSet phldrT="[Texte]"/>
      <dgm:spPr/>
      <dgm:t>
        <a:bodyPr/>
        <a:lstStyle/>
        <a:p>
          <a:r>
            <a:rPr lang="fr-CA"/>
            <a:t>Favoriser l’accessibilité et l’inclusion</a:t>
          </a:r>
        </a:p>
      </dgm:t>
    </dgm:pt>
    <dgm:pt modelId="{2C3DA0F7-0AE7-42D8-B194-8AA4F89134E1}" type="parTrans" cxnId="{C86F30AA-CB83-4FC0-B126-6C07B433FB08}">
      <dgm:prSet/>
      <dgm:spPr/>
      <dgm:t>
        <a:bodyPr/>
        <a:lstStyle/>
        <a:p>
          <a:endParaRPr lang="fr-CA"/>
        </a:p>
      </dgm:t>
    </dgm:pt>
    <dgm:pt modelId="{046C5468-AEF3-424C-9EC7-B6773CA39836}" type="sibTrans" cxnId="{C86F30AA-CB83-4FC0-B126-6C07B433FB08}">
      <dgm:prSet/>
      <dgm:spPr/>
      <dgm:t>
        <a:bodyPr/>
        <a:lstStyle/>
        <a:p>
          <a:endParaRPr lang="fr-CA"/>
        </a:p>
      </dgm:t>
    </dgm:pt>
    <dgm:pt modelId="{D28E9A90-8145-4E54-A6C0-5E4130843A13}">
      <dgm:prSet phldrT="[Texte]"/>
      <dgm:spPr/>
      <dgm:t>
        <a:bodyPr/>
        <a:lstStyle/>
        <a:p>
          <a:r>
            <a:rPr lang="fr-CA" dirty="0"/>
            <a:t>Améliorer l’ergonomie des points de travail.</a:t>
          </a:r>
        </a:p>
      </dgm:t>
    </dgm:pt>
    <dgm:pt modelId="{4C895BE3-1CAC-4E6F-ADB7-2BAD8B80AC5B}" type="parTrans" cxnId="{49EB1122-30EC-4EC7-9EF3-839A7AF14CCE}">
      <dgm:prSet/>
      <dgm:spPr/>
      <dgm:t>
        <a:bodyPr/>
        <a:lstStyle/>
        <a:p>
          <a:endParaRPr lang="fr-CA"/>
        </a:p>
      </dgm:t>
    </dgm:pt>
    <dgm:pt modelId="{DFFBE73B-D7DC-4735-84DB-F68FFC7DFF8A}" type="sibTrans" cxnId="{49EB1122-30EC-4EC7-9EF3-839A7AF14CCE}">
      <dgm:prSet/>
      <dgm:spPr/>
      <dgm:t>
        <a:bodyPr/>
        <a:lstStyle/>
        <a:p>
          <a:endParaRPr lang="fr-CA"/>
        </a:p>
      </dgm:t>
    </dgm:pt>
    <dgm:pt modelId="{8EC30425-29FC-4F58-9FF1-D33E64C4443C}">
      <dgm:prSet phldrT="[Texte]"/>
      <dgm:spPr/>
      <dgm:t>
        <a:bodyPr/>
        <a:lstStyle/>
        <a:p>
          <a:r>
            <a:rPr lang="fr-CA" dirty="0"/>
            <a:t>Offrir plus d’options.</a:t>
          </a:r>
        </a:p>
      </dgm:t>
    </dgm:pt>
    <dgm:pt modelId="{428A790E-D37C-4416-9338-9849D201DBAB}" type="parTrans" cxnId="{66FACEAE-9F39-424F-960A-6775A030A329}">
      <dgm:prSet/>
      <dgm:spPr/>
      <dgm:t>
        <a:bodyPr/>
        <a:lstStyle/>
        <a:p>
          <a:endParaRPr lang="fr-CA"/>
        </a:p>
      </dgm:t>
    </dgm:pt>
    <dgm:pt modelId="{EC7B8369-FBEF-46AF-BB44-EECED6A5D193}" type="sibTrans" cxnId="{66FACEAE-9F39-424F-960A-6775A030A329}">
      <dgm:prSet/>
      <dgm:spPr/>
      <dgm:t>
        <a:bodyPr/>
        <a:lstStyle/>
        <a:p>
          <a:endParaRPr lang="fr-CA"/>
        </a:p>
      </dgm:t>
    </dgm:pt>
    <dgm:pt modelId="{FD1DA089-FB64-46F8-B330-7F5A7531CE2F}">
      <dgm:prSet phldrT="[Texte]"/>
      <dgm:spPr/>
      <dgm:t>
        <a:bodyPr/>
        <a:lstStyle/>
        <a:p>
          <a:r>
            <a:rPr lang="fr-CA" dirty="0"/>
            <a:t>Viser l’amélioration de l’expérience en milieu de travail</a:t>
          </a:r>
        </a:p>
      </dgm:t>
    </dgm:pt>
    <dgm:pt modelId="{0F378E54-BBDA-47C9-A3C2-02625D0467E9}" type="parTrans" cxnId="{DE64FCCA-7978-4ED6-AE4D-67AB505BFDDE}">
      <dgm:prSet/>
      <dgm:spPr/>
      <dgm:t>
        <a:bodyPr/>
        <a:lstStyle/>
        <a:p>
          <a:endParaRPr lang="fr-CA"/>
        </a:p>
      </dgm:t>
    </dgm:pt>
    <dgm:pt modelId="{A51ED906-5228-48E5-AD43-4003CF854D4D}" type="sibTrans" cxnId="{DE64FCCA-7978-4ED6-AE4D-67AB505BFDDE}">
      <dgm:prSet/>
      <dgm:spPr/>
      <dgm:t>
        <a:bodyPr/>
        <a:lstStyle/>
        <a:p>
          <a:endParaRPr lang="fr-CA"/>
        </a:p>
      </dgm:t>
    </dgm:pt>
    <dgm:pt modelId="{FE0FBE0B-EF35-4017-89F5-2FE936A35EC1}">
      <dgm:prSet phldrT="[Texte]"/>
      <dgm:spPr/>
      <dgm:t>
        <a:bodyPr/>
        <a:lstStyle/>
        <a:p>
          <a:r>
            <a:rPr lang="fr-CA" dirty="0"/>
            <a:t>Faire en sorte que chacun y trouve son compte.</a:t>
          </a:r>
        </a:p>
      </dgm:t>
    </dgm:pt>
    <dgm:pt modelId="{C2E8EEFB-C58A-4059-B969-F97831A1D213}" type="parTrans" cxnId="{06429EE3-75D4-4E93-BBF8-A61AC886ACCF}">
      <dgm:prSet/>
      <dgm:spPr/>
      <dgm:t>
        <a:bodyPr/>
        <a:lstStyle/>
        <a:p>
          <a:endParaRPr lang="fr-CA"/>
        </a:p>
      </dgm:t>
    </dgm:pt>
    <dgm:pt modelId="{6FBA629C-6874-48E1-B305-ABA65B107F77}" type="sibTrans" cxnId="{06429EE3-75D4-4E93-BBF8-A61AC886ACCF}">
      <dgm:prSet/>
      <dgm:spPr/>
      <dgm:t>
        <a:bodyPr/>
        <a:lstStyle/>
        <a:p>
          <a:endParaRPr lang="fr-CA"/>
        </a:p>
      </dgm:t>
    </dgm:pt>
    <dgm:pt modelId="{4670D9BF-F5C4-48D0-A5AD-334413B4D5F6}" type="pres">
      <dgm:prSet presAssocID="{77DEA71D-90D8-473D-9385-DE54761F8672}" presName="linear" presStyleCnt="0">
        <dgm:presLayoutVars>
          <dgm:dir/>
          <dgm:resizeHandles val="exact"/>
        </dgm:presLayoutVars>
      </dgm:prSet>
      <dgm:spPr/>
    </dgm:pt>
    <dgm:pt modelId="{E28EDD18-AEC3-4717-A60B-0B07D5A50B7B}" type="pres">
      <dgm:prSet presAssocID="{A0EFD81D-DFB5-4522-9915-59F27FAA4567}" presName="comp" presStyleCnt="0"/>
      <dgm:spPr/>
    </dgm:pt>
    <dgm:pt modelId="{5CE007CC-E62E-4C76-8653-AE2AA6178208}" type="pres">
      <dgm:prSet presAssocID="{A0EFD81D-DFB5-4522-9915-59F27FAA4567}" presName="box" presStyleLbl="node1" presStyleIdx="0" presStyleCnt="3" custLinFactNeighborX="-148" custLinFactNeighborY="-277"/>
      <dgm:spPr/>
    </dgm:pt>
    <dgm:pt modelId="{B95AE615-A300-40D4-A5F1-F981768E8B3A}" type="pres">
      <dgm:prSet presAssocID="{A0EFD81D-DFB5-4522-9915-59F27FAA4567}" presName="img" presStyleLbl="fgImgPlace1" presStyleIdx="0" presStyleCnt="3" custScaleX="50810" custScaleY="59193" custLinFactNeighborX="-313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a:noFill/>
        </a:ln>
      </dgm:spPr>
      <dgm:extLst>
        <a:ext uri="{E40237B7-FDA0-4F09-8148-C483321AD2D9}">
          <dgm14:cNvPr xmlns:dgm14="http://schemas.microsoft.com/office/drawing/2010/diagram" id="0" name="" descr="Enseignant avec un remplissage uni"/>
        </a:ext>
      </dgm:extLst>
    </dgm:pt>
    <dgm:pt modelId="{AD44518E-0EFC-4C8E-B907-67EC386A9F3A}" type="pres">
      <dgm:prSet presAssocID="{A0EFD81D-DFB5-4522-9915-59F27FAA4567}" presName="text" presStyleLbl="node1" presStyleIdx="0" presStyleCnt="3">
        <dgm:presLayoutVars>
          <dgm:bulletEnabled val="1"/>
        </dgm:presLayoutVars>
      </dgm:prSet>
      <dgm:spPr/>
    </dgm:pt>
    <dgm:pt modelId="{59E1794C-2245-4071-9623-D95A63AAEFD8}" type="pres">
      <dgm:prSet presAssocID="{4BF4C88B-0753-41C7-8C4E-20B4679EBE87}" presName="spacer" presStyleCnt="0"/>
      <dgm:spPr/>
    </dgm:pt>
    <dgm:pt modelId="{86961CF6-A343-4DDF-92D7-B080E24CFCCC}" type="pres">
      <dgm:prSet presAssocID="{6EBC7762-69F6-455B-B81D-7E871660C10D}" presName="comp" presStyleCnt="0"/>
      <dgm:spPr/>
    </dgm:pt>
    <dgm:pt modelId="{A457552D-75A1-4799-A6E8-A49F088A3AC3}" type="pres">
      <dgm:prSet presAssocID="{6EBC7762-69F6-455B-B81D-7E871660C10D}" presName="box" presStyleLbl="node1" presStyleIdx="1" presStyleCnt="3"/>
      <dgm:spPr/>
    </dgm:pt>
    <dgm:pt modelId="{FDACB6A6-4368-4805-BEE7-9B6F9B3B3470}" type="pres">
      <dgm:prSet presAssocID="{6EBC7762-69F6-455B-B81D-7E871660C10D}" presName="img" presStyleLbl="fgImgPlace1" presStyleIdx="1" presStyleCnt="3" custScaleX="47488" custScaleY="97674" custLinFactNeighborX="-4218" custLinFactNeighborY="-151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a:noFill/>
        </a:ln>
      </dgm:spPr>
      <dgm:extLst>
        <a:ext uri="{E40237B7-FDA0-4F09-8148-C483321AD2D9}">
          <dgm14:cNvPr xmlns:dgm14="http://schemas.microsoft.com/office/drawing/2010/diagram" id="0" name="" descr="Accès universel avec un remplissage uni"/>
        </a:ext>
      </dgm:extLst>
    </dgm:pt>
    <dgm:pt modelId="{8935447B-1F1D-4D23-ADFD-A90F10DD7831}" type="pres">
      <dgm:prSet presAssocID="{6EBC7762-69F6-455B-B81D-7E871660C10D}" presName="text" presStyleLbl="node1" presStyleIdx="1" presStyleCnt="3">
        <dgm:presLayoutVars>
          <dgm:bulletEnabled val="1"/>
        </dgm:presLayoutVars>
      </dgm:prSet>
      <dgm:spPr/>
    </dgm:pt>
    <dgm:pt modelId="{47997BB1-E988-4687-AAD6-D637DAF74057}" type="pres">
      <dgm:prSet presAssocID="{046C5468-AEF3-424C-9EC7-B6773CA39836}" presName="spacer" presStyleCnt="0"/>
      <dgm:spPr/>
    </dgm:pt>
    <dgm:pt modelId="{D4E0F3EF-F37B-47D6-ADFF-A1A0E0480F00}" type="pres">
      <dgm:prSet presAssocID="{FD1DA089-FB64-46F8-B330-7F5A7531CE2F}" presName="comp" presStyleCnt="0"/>
      <dgm:spPr/>
    </dgm:pt>
    <dgm:pt modelId="{B66D2A5C-93CF-454D-88DD-BC470F0CA08E}" type="pres">
      <dgm:prSet presAssocID="{FD1DA089-FB64-46F8-B330-7F5A7531CE2F}" presName="box" presStyleLbl="node1" presStyleIdx="2" presStyleCnt="3"/>
      <dgm:spPr/>
    </dgm:pt>
    <dgm:pt modelId="{10B0BF81-7F94-4DC6-9B57-BB0FFE3EFD0E}" type="pres">
      <dgm:prSet presAssocID="{FD1DA089-FB64-46F8-B330-7F5A7531CE2F}" presName="img" presStyleLbl="fgImgPlace1" presStyleIdx="2" presStyleCnt="3" custScaleX="47028" custScaleY="84845" custLinFactNeighborX="-5220" custLinFactNeighborY="-7388"/>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llseye"/>
        </a:ext>
      </dgm:extLst>
    </dgm:pt>
    <dgm:pt modelId="{5A6BC2BE-127D-4FCF-A0F8-1CD21A01898D}" type="pres">
      <dgm:prSet presAssocID="{FD1DA089-FB64-46F8-B330-7F5A7531CE2F}" presName="text" presStyleLbl="node1" presStyleIdx="2" presStyleCnt="3">
        <dgm:presLayoutVars>
          <dgm:bulletEnabled val="1"/>
        </dgm:presLayoutVars>
      </dgm:prSet>
      <dgm:spPr/>
    </dgm:pt>
  </dgm:ptLst>
  <dgm:cxnLst>
    <dgm:cxn modelId="{17763C12-2A6C-4FAA-882C-1D1BA75CF02C}" srcId="{A0EFD81D-DFB5-4522-9915-59F27FAA4567}" destId="{E6F05472-84B2-4040-844E-F7D13BBDDE07}" srcOrd="1" destOrd="0" parTransId="{506A388A-A412-4721-B42D-0480A1119E44}" sibTransId="{06C85065-9075-4E6B-A332-BEB26B12B061}"/>
    <dgm:cxn modelId="{FCC0CB15-76D4-4DA4-81AC-2545462D4724}" type="presOf" srcId="{6EBC7762-69F6-455B-B81D-7E871660C10D}" destId="{8935447B-1F1D-4D23-ADFD-A90F10DD7831}" srcOrd="1" destOrd="0" presId="urn:microsoft.com/office/officeart/2005/8/layout/vList4"/>
    <dgm:cxn modelId="{653A941D-9DD3-4927-AE26-35D219DDC9D4}" type="presOf" srcId="{77DEA71D-90D8-473D-9385-DE54761F8672}" destId="{4670D9BF-F5C4-48D0-A5AD-334413B4D5F6}" srcOrd="0" destOrd="0" presId="urn:microsoft.com/office/officeart/2005/8/layout/vList4"/>
    <dgm:cxn modelId="{49EB1122-30EC-4EC7-9EF3-839A7AF14CCE}" srcId="{6EBC7762-69F6-455B-B81D-7E871660C10D}" destId="{D28E9A90-8145-4E54-A6C0-5E4130843A13}" srcOrd="0" destOrd="0" parTransId="{4C895BE3-1CAC-4E6F-ADB7-2BAD8B80AC5B}" sibTransId="{DFFBE73B-D7DC-4735-84DB-F68FFC7DFF8A}"/>
    <dgm:cxn modelId="{66B40F2D-8982-4007-B366-0E46E6427309}" type="presOf" srcId="{A0EFD81D-DFB5-4522-9915-59F27FAA4567}" destId="{AD44518E-0EFC-4C8E-B907-67EC386A9F3A}" srcOrd="1" destOrd="0" presId="urn:microsoft.com/office/officeart/2005/8/layout/vList4"/>
    <dgm:cxn modelId="{29A1BD3A-37B2-4855-A79F-0FC1327D2780}" srcId="{A0EFD81D-DFB5-4522-9915-59F27FAA4567}" destId="{044993C6-9AAC-46DA-85B9-4D823486783F}" srcOrd="0" destOrd="0" parTransId="{C82DD76F-78BF-4BAF-872F-9AE7B3192316}" sibTransId="{43FB2E63-A1A6-4993-81C5-6F2E2871C2FB}"/>
    <dgm:cxn modelId="{2F962041-E763-44C5-8B78-4138C5D5EEEE}" type="presOf" srcId="{6EBC7762-69F6-455B-B81D-7E871660C10D}" destId="{A457552D-75A1-4799-A6E8-A49F088A3AC3}" srcOrd="0" destOrd="0" presId="urn:microsoft.com/office/officeart/2005/8/layout/vList4"/>
    <dgm:cxn modelId="{C56F4B41-ECA0-4DA5-83BB-BD7E1CE6CADC}" type="presOf" srcId="{E6F05472-84B2-4040-844E-F7D13BBDDE07}" destId="{5CE007CC-E62E-4C76-8653-AE2AA6178208}" srcOrd="0" destOrd="2" presId="urn:microsoft.com/office/officeart/2005/8/layout/vList4"/>
    <dgm:cxn modelId="{F5E70247-A7F7-40A9-BB75-5C20FC00FA44}" type="presOf" srcId="{FD1DA089-FB64-46F8-B330-7F5A7531CE2F}" destId="{B66D2A5C-93CF-454D-88DD-BC470F0CA08E}" srcOrd="0" destOrd="0" presId="urn:microsoft.com/office/officeart/2005/8/layout/vList4"/>
    <dgm:cxn modelId="{A93C364A-096E-48CC-904B-1163146B83FD}" type="presOf" srcId="{D28E9A90-8145-4E54-A6C0-5E4130843A13}" destId="{8935447B-1F1D-4D23-ADFD-A90F10DD7831}" srcOrd="1" destOrd="1" presId="urn:microsoft.com/office/officeart/2005/8/layout/vList4"/>
    <dgm:cxn modelId="{AE12E27E-B0D0-44AB-BE00-AF9939CBB6D8}" type="presOf" srcId="{8EC30425-29FC-4F58-9FF1-D33E64C4443C}" destId="{A457552D-75A1-4799-A6E8-A49F088A3AC3}" srcOrd="0" destOrd="2" presId="urn:microsoft.com/office/officeart/2005/8/layout/vList4"/>
    <dgm:cxn modelId="{E8B07185-BD76-4766-B52E-AF982479BC27}" type="presOf" srcId="{044993C6-9AAC-46DA-85B9-4D823486783F}" destId="{5CE007CC-E62E-4C76-8653-AE2AA6178208}" srcOrd="0" destOrd="1" presId="urn:microsoft.com/office/officeart/2005/8/layout/vList4"/>
    <dgm:cxn modelId="{64718AA4-D790-466E-A48E-36C12FD1B523}" type="presOf" srcId="{A0EFD81D-DFB5-4522-9915-59F27FAA4567}" destId="{5CE007CC-E62E-4C76-8653-AE2AA6178208}" srcOrd="0" destOrd="0" presId="urn:microsoft.com/office/officeart/2005/8/layout/vList4"/>
    <dgm:cxn modelId="{C86F30AA-CB83-4FC0-B126-6C07B433FB08}" srcId="{77DEA71D-90D8-473D-9385-DE54761F8672}" destId="{6EBC7762-69F6-455B-B81D-7E871660C10D}" srcOrd="1" destOrd="0" parTransId="{2C3DA0F7-0AE7-42D8-B194-8AA4F89134E1}" sibTransId="{046C5468-AEF3-424C-9EC7-B6773CA39836}"/>
    <dgm:cxn modelId="{66FACEAE-9F39-424F-960A-6775A030A329}" srcId="{6EBC7762-69F6-455B-B81D-7E871660C10D}" destId="{8EC30425-29FC-4F58-9FF1-D33E64C4443C}" srcOrd="1" destOrd="0" parTransId="{428A790E-D37C-4416-9338-9849D201DBAB}" sibTransId="{EC7B8369-FBEF-46AF-BB44-EECED6A5D193}"/>
    <dgm:cxn modelId="{473753B4-8426-4769-8EE5-B5AAAD192E8A}" srcId="{77DEA71D-90D8-473D-9385-DE54761F8672}" destId="{A0EFD81D-DFB5-4522-9915-59F27FAA4567}" srcOrd="0" destOrd="0" parTransId="{CFE85DD3-9783-47A5-8D10-76C6C3817669}" sibTransId="{4BF4C88B-0753-41C7-8C4E-20B4679EBE87}"/>
    <dgm:cxn modelId="{03DE03BB-BFC8-44E1-B5F1-85A73A259AB6}" type="presOf" srcId="{8EC30425-29FC-4F58-9FF1-D33E64C4443C}" destId="{8935447B-1F1D-4D23-ADFD-A90F10DD7831}" srcOrd="1" destOrd="2" presId="urn:microsoft.com/office/officeart/2005/8/layout/vList4"/>
    <dgm:cxn modelId="{46A3FDBC-9971-4974-9D75-F1F43C5BF96C}" type="presOf" srcId="{D28E9A90-8145-4E54-A6C0-5E4130843A13}" destId="{A457552D-75A1-4799-A6E8-A49F088A3AC3}" srcOrd="0" destOrd="1" presId="urn:microsoft.com/office/officeart/2005/8/layout/vList4"/>
    <dgm:cxn modelId="{DE64FCCA-7978-4ED6-AE4D-67AB505BFDDE}" srcId="{77DEA71D-90D8-473D-9385-DE54761F8672}" destId="{FD1DA089-FB64-46F8-B330-7F5A7531CE2F}" srcOrd="2" destOrd="0" parTransId="{0F378E54-BBDA-47C9-A3C2-02625D0467E9}" sibTransId="{A51ED906-5228-48E5-AD43-4003CF854D4D}"/>
    <dgm:cxn modelId="{DF6540D8-1FAF-49B3-9DAB-E0CB58EB9C13}" type="presOf" srcId="{044993C6-9AAC-46DA-85B9-4D823486783F}" destId="{AD44518E-0EFC-4C8E-B907-67EC386A9F3A}" srcOrd="1" destOrd="1" presId="urn:microsoft.com/office/officeart/2005/8/layout/vList4"/>
    <dgm:cxn modelId="{C83501E3-2102-4965-829E-11D691E39A75}" type="presOf" srcId="{E6F05472-84B2-4040-844E-F7D13BBDDE07}" destId="{AD44518E-0EFC-4C8E-B907-67EC386A9F3A}" srcOrd="1" destOrd="2" presId="urn:microsoft.com/office/officeart/2005/8/layout/vList4"/>
    <dgm:cxn modelId="{06429EE3-75D4-4E93-BBF8-A61AC886ACCF}" srcId="{FD1DA089-FB64-46F8-B330-7F5A7531CE2F}" destId="{FE0FBE0B-EF35-4017-89F5-2FE936A35EC1}" srcOrd="0" destOrd="0" parTransId="{C2E8EEFB-C58A-4059-B969-F97831A1D213}" sibTransId="{6FBA629C-6874-48E1-B305-ABA65B107F77}"/>
    <dgm:cxn modelId="{0BBC02E4-EB76-42D5-ADD6-6751939DE112}" type="presOf" srcId="{FE0FBE0B-EF35-4017-89F5-2FE936A35EC1}" destId="{5A6BC2BE-127D-4FCF-A0F8-1CD21A01898D}" srcOrd="1" destOrd="1" presId="urn:microsoft.com/office/officeart/2005/8/layout/vList4"/>
    <dgm:cxn modelId="{75FD82F1-3CBB-4C82-A021-02B0E211BA67}" type="presOf" srcId="{FE0FBE0B-EF35-4017-89F5-2FE936A35EC1}" destId="{B66D2A5C-93CF-454D-88DD-BC470F0CA08E}" srcOrd="0" destOrd="1" presId="urn:microsoft.com/office/officeart/2005/8/layout/vList4"/>
    <dgm:cxn modelId="{106908FE-423B-4BB3-93C9-084F87E944B6}" type="presOf" srcId="{FD1DA089-FB64-46F8-B330-7F5A7531CE2F}" destId="{5A6BC2BE-127D-4FCF-A0F8-1CD21A01898D}" srcOrd="1" destOrd="0" presId="urn:microsoft.com/office/officeart/2005/8/layout/vList4"/>
    <dgm:cxn modelId="{B979A555-73B0-4340-8671-DA0AF5760E71}" type="presParOf" srcId="{4670D9BF-F5C4-48D0-A5AD-334413B4D5F6}" destId="{E28EDD18-AEC3-4717-A60B-0B07D5A50B7B}" srcOrd="0" destOrd="0" presId="urn:microsoft.com/office/officeart/2005/8/layout/vList4"/>
    <dgm:cxn modelId="{43F61213-90DB-48F0-B1AD-15AF8840A97C}" type="presParOf" srcId="{E28EDD18-AEC3-4717-A60B-0B07D5A50B7B}" destId="{5CE007CC-E62E-4C76-8653-AE2AA6178208}" srcOrd="0" destOrd="0" presId="urn:microsoft.com/office/officeart/2005/8/layout/vList4"/>
    <dgm:cxn modelId="{4009CE4E-3984-40CE-A22B-71C1591B0775}" type="presParOf" srcId="{E28EDD18-AEC3-4717-A60B-0B07D5A50B7B}" destId="{B95AE615-A300-40D4-A5F1-F981768E8B3A}" srcOrd="1" destOrd="0" presId="urn:microsoft.com/office/officeart/2005/8/layout/vList4"/>
    <dgm:cxn modelId="{B7F931E4-F412-4EB5-BA5C-AE92E7F487B2}" type="presParOf" srcId="{E28EDD18-AEC3-4717-A60B-0B07D5A50B7B}" destId="{AD44518E-0EFC-4C8E-B907-67EC386A9F3A}" srcOrd="2" destOrd="0" presId="urn:microsoft.com/office/officeart/2005/8/layout/vList4"/>
    <dgm:cxn modelId="{33DB3C62-DE60-4BC0-A238-107D95DC7642}" type="presParOf" srcId="{4670D9BF-F5C4-48D0-A5AD-334413B4D5F6}" destId="{59E1794C-2245-4071-9623-D95A63AAEFD8}" srcOrd="1" destOrd="0" presId="urn:microsoft.com/office/officeart/2005/8/layout/vList4"/>
    <dgm:cxn modelId="{5994CACF-ACE6-4C89-8E77-B5ADA74263A4}" type="presParOf" srcId="{4670D9BF-F5C4-48D0-A5AD-334413B4D5F6}" destId="{86961CF6-A343-4DDF-92D7-B080E24CFCCC}" srcOrd="2" destOrd="0" presId="urn:microsoft.com/office/officeart/2005/8/layout/vList4"/>
    <dgm:cxn modelId="{10ACEFAA-DCBB-49DF-B9C6-99BDFDF11718}" type="presParOf" srcId="{86961CF6-A343-4DDF-92D7-B080E24CFCCC}" destId="{A457552D-75A1-4799-A6E8-A49F088A3AC3}" srcOrd="0" destOrd="0" presId="urn:microsoft.com/office/officeart/2005/8/layout/vList4"/>
    <dgm:cxn modelId="{C35426D2-FA0D-4203-A93F-236B73C00D3E}" type="presParOf" srcId="{86961CF6-A343-4DDF-92D7-B080E24CFCCC}" destId="{FDACB6A6-4368-4805-BEE7-9B6F9B3B3470}" srcOrd="1" destOrd="0" presId="urn:microsoft.com/office/officeart/2005/8/layout/vList4"/>
    <dgm:cxn modelId="{817F1A85-CF86-4BC1-8ABB-860BA0C95A14}" type="presParOf" srcId="{86961CF6-A343-4DDF-92D7-B080E24CFCCC}" destId="{8935447B-1F1D-4D23-ADFD-A90F10DD7831}" srcOrd="2" destOrd="0" presId="urn:microsoft.com/office/officeart/2005/8/layout/vList4"/>
    <dgm:cxn modelId="{F6D94562-99E5-4FE0-988B-0AC97F59AF16}" type="presParOf" srcId="{4670D9BF-F5C4-48D0-A5AD-334413B4D5F6}" destId="{47997BB1-E988-4687-AAD6-D637DAF74057}" srcOrd="3" destOrd="0" presId="urn:microsoft.com/office/officeart/2005/8/layout/vList4"/>
    <dgm:cxn modelId="{A07F9653-B532-4D23-9D1A-24E8A74FC89D}" type="presParOf" srcId="{4670D9BF-F5C4-48D0-A5AD-334413B4D5F6}" destId="{D4E0F3EF-F37B-47D6-ADFF-A1A0E0480F00}" srcOrd="4" destOrd="0" presId="urn:microsoft.com/office/officeart/2005/8/layout/vList4"/>
    <dgm:cxn modelId="{77B98813-59A9-4A52-BDA5-34745034BD3B}" type="presParOf" srcId="{D4E0F3EF-F37B-47D6-ADFF-A1A0E0480F00}" destId="{B66D2A5C-93CF-454D-88DD-BC470F0CA08E}" srcOrd="0" destOrd="0" presId="urn:microsoft.com/office/officeart/2005/8/layout/vList4"/>
    <dgm:cxn modelId="{FC9D4608-557D-4507-A8C8-A72E36F96D0C}" type="presParOf" srcId="{D4E0F3EF-F37B-47D6-ADFF-A1A0E0480F00}" destId="{10B0BF81-7F94-4DC6-9B57-BB0FFE3EFD0E}" srcOrd="1" destOrd="0" presId="urn:microsoft.com/office/officeart/2005/8/layout/vList4"/>
    <dgm:cxn modelId="{1F6E89A0-3BD9-4B90-AEF1-D3BF427FF366}" type="presParOf" srcId="{D4E0F3EF-F37B-47D6-ADFF-A1A0E0480F00}" destId="{5A6BC2BE-127D-4FCF-A0F8-1CD21A01898D}" srcOrd="2" destOrd="0" presId="urn:microsoft.com/office/officeart/2005/8/layout/vList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77695C5-09A0-458A-9F23-BC461F36518F}" type="doc">
      <dgm:prSet loTypeId="urn:microsoft.com/office/officeart/2005/8/layout/hList7" loCatId="list" qsTypeId="urn:microsoft.com/office/officeart/2005/8/quickstyle/simple5" qsCatId="simple" csTypeId="urn:microsoft.com/office/officeart/2005/8/colors/colorful1" csCatId="colorful" phldr="1"/>
      <dgm:spPr/>
      <dgm:t>
        <a:bodyPr/>
        <a:lstStyle/>
        <a:p>
          <a:endParaRPr lang="fr-CA"/>
        </a:p>
      </dgm:t>
    </dgm:pt>
    <dgm:pt modelId="{180EA75F-C16E-457B-B1E1-BC6DC220B65E}">
      <dgm:prSet phldrT="[Texte]"/>
      <dgm:spPr/>
      <dgm:t>
        <a:bodyPr/>
        <a:lstStyle/>
        <a:p>
          <a:r>
            <a:rPr lang="fr-CA" dirty="0"/>
            <a:t>Expérimenter</a:t>
          </a:r>
        </a:p>
      </dgm:t>
    </dgm:pt>
    <dgm:pt modelId="{B80A7437-1EF5-4785-AEA6-EAA55DA51F4B}" type="parTrans" cxnId="{DD795CEA-9BA3-49FD-9649-AB50F702F8FF}">
      <dgm:prSet/>
      <dgm:spPr/>
      <dgm:t>
        <a:bodyPr/>
        <a:lstStyle/>
        <a:p>
          <a:endParaRPr lang="fr-CA"/>
        </a:p>
      </dgm:t>
    </dgm:pt>
    <dgm:pt modelId="{6EDDA166-1BC3-4813-99CE-4A7638E414C2}" type="sibTrans" cxnId="{DD795CEA-9BA3-49FD-9649-AB50F702F8FF}">
      <dgm:prSet/>
      <dgm:spPr/>
      <dgm:t>
        <a:bodyPr/>
        <a:lstStyle/>
        <a:p>
          <a:endParaRPr lang="fr-CA"/>
        </a:p>
      </dgm:t>
    </dgm:pt>
    <dgm:pt modelId="{B55B18AF-498A-4C75-A2DB-95C27E6147D2}">
      <dgm:prSet phldrT="[Texte]"/>
      <dgm:spPr/>
      <dgm:t>
        <a:bodyPr/>
        <a:lstStyle/>
        <a:p>
          <a:r>
            <a:rPr lang="fr-CA" dirty="0"/>
            <a:t>Penser aux autres</a:t>
          </a:r>
        </a:p>
      </dgm:t>
    </dgm:pt>
    <dgm:pt modelId="{EFC92D3E-1E70-4466-8C3D-E0575750A6DF}" type="parTrans" cxnId="{281B884A-039E-4331-BD14-CD91CCDC79AE}">
      <dgm:prSet/>
      <dgm:spPr/>
      <dgm:t>
        <a:bodyPr/>
        <a:lstStyle/>
        <a:p>
          <a:endParaRPr lang="fr-CA"/>
        </a:p>
      </dgm:t>
    </dgm:pt>
    <dgm:pt modelId="{656BD22C-54E1-4957-B510-14381AABC25A}" type="sibTrans" cxnId="{281B884A-039E-4331-BD14-CD91CCDC79AE}">
      <dgm:prSet/>
      <dgm:spPr/>
      <dgm:t>
        <a:bodyPr/>
        <a:lstStyle/>
        <a:p>
          <a:endParaRPr lang="fr-CA"/>
        </a:p>
      </dgm:t>
    </dgm:pt>
    <dgm:pt modelId="{503CDE31-6C94-4AF6-BA37-357CB4FCF3D5}">
      <dgm:prSet phldrT="[Texte]"/>
      <dgm:spPr/>
      <dgm:t>
        <a:bodyPr/>
        <a:lstStyle/>
        <a:p>
          <a:r>
            <a:rPr lang="fr-CA" dirty="0"/>
            <a:t>Être patient</a:t>
          </a:r>
        </a:p>
      </dgm:t>
    </dgm:pt>
    <dgm:pt modelId="{EBBA6678-5FEE-4709-AD45-20D956AFCB5D}" type="parTrans" cxnId="{9C1F7A21-2C64-4F5B-8BF5-8E4079D3DF89}">
      <dgm:prSet/>
      <dgm:spPr/>
      <dgm:t>
        <a:bodyPr/>
        <a:lstStyle/>
        <a:p>
          <a:endParaRPr lang="fr-CA"/>
        </a:p>
      </dgm:t>
    </dgm:pt>
    <dgm:pt modelId="{BC649F62-DD6F-4006-A49F-48DAE645CB1F}" type="sibTrans" cxnId="{9C1F7A21-2C64-4F5B-8BF5-8E4079D3DF89}">
      <dgm:prSet/>
      <dgm:spPr/>
      <dgm:t>
        <a:bodyPr/>
        <a:lstStyle/>
        <a:p>
          <a:endParaRPr lang="fr-CA"/>
        </a:p>
      </dgm:t>
    </dgm:pt>
    <dgm:pt modelId="{F78929D8-8ECE-4981-83EF-19868A10CCC6}" type="pres">
      <dgm:prSet presAssocID="{077695C5-09A0-458A-9F23-BC461F36518F}" presName="Name0" presStyleCnt="0">
        <dgm:presLayoutVars>
          <dgm:dir/>
          <dgm:resizeHandles val="exact"/>
        </dgm:presLayoutVars>
      </dgm:prSet>
      <dgm:spPr/>
    </dgm:pt>
    <dgm:pt modelId="{D3FEFB0D-C5D7-4E4A-938B-982AAD57A2FE}" type="pres">
      <dgm:prSet presAssocID="{077695C5-09A0-458A-9F23-BC461F36518F}" presName="fgShape" presStyleLbl="fgShp" presStyleIdx="0" presStyleCnt="1"/>
      <dgm:spPr/>
    </dgm:pt>
    <dgm:pt modelId="{DBF7EC8B-D3A9-4E02-BDCC-4CF6E60F26C3}" type="pres">
      <dgm:prSet presAssocID="{077695C5-09A0-458A-9F23-BC461F36518F}" presName="linComp" presStyleCnt="0"/>
      <dgm:spPr/>
    </dgm:pt>
    <dgm:pt modelId="{C470CBE6-8E92-49B3-BD8F-44B12A117CD2}" type="pres">
      <dgm:prSet presAssocID="{180EA75F-C16E-457B-B1E1-BC6DC220B65E}" presName="compNode" presStyleCnt="0"/>
      <dgm:spPr/>
    </dgm:pt>
    <dgm:pt modelId="{46F3DA37-3812-43D5-84A6-BF667E3F8262}" type="pres">
      <dgm:prSet presAssocID="{180EA75F-C16E-457B-B1E1-BC6DC220B65E}" presName="bkgdShape" presStyleLbl="node1" presStyleIdx="0" presStyleCnt="3" custLinFactNeighborX="-64" custLinFactNeighborY="-151"/>
      <dgm:spPr/>
    </dgm:pt>
    <dgm:pt modelId="{BFDF591F-5AED-471A-A592-C670FBF7F600}" type="pres">
      <dgm:prSet presAssocID="{180EA75F-C16E-457B-B1E1-BC6DC220B65E}" presName="nodeTx" presStyleLbl="node1" presStyleIdx="0" presStyleCnt="3">
        <dgm:presLayoutVars>
          <dgm:bulletEnabled val="1"/>
        </dgm:presLayoutVars>
      </dgm:prSet>
      <dgm:spPr/>
    </dgm:pt>
    <dgm:pt modelId="{1932AAD6-9520-4068-968B-B7AEFBBAF1E3}" type="pres">
      <dgm:prSet presAssocID="{180EA75F-C16E-457B-B1E1-BC6DC220B65E}" presName="invisiNode" presStyleLbl="node1" presStyleIdx="0" presStyleCnt="3"/>
      <dgm:spPr/>
    </dgm:pt>
    <dgm:pt modelId="{81BB578D-7A2F-4F30-ACD0-752EC5CCBE19}" type="pres">
      <dgm:prSet presAssocID="{180EA75F-C16E-457B-B1E1-BC6DC220B65E}"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Fiole avec un remplissage uni"/>
        </a:ext>
      </dgm:extLst>
    </dgm:pt>
    <dgm:pt modelId="{ADE1A769-2B37-4AD8-8F3F-147BB8741EAB}" type="pres">
      <dgm:prSet presAssocID="{6EDDA166-1BC3-4813-99CE-4A7638E414C2}" presName="sibTrans" presStyleLbl="sibTrans2D1" presStyleIdx="0" presStyleCnt="0"/>
      <dgm:spPr/>
    </dgm:pt>
    <dgm:pt modelId="{1EBB4078-53AC-4D62-9023-42C4EAE2977C}" type="pres">
      <dgm:prSet presAssocID="{B55B18AF-498A-4C75-A2DB-95C27E6147D2}" presName="compNode" presStyleCnt="0"/>
      <dgm:spPr/>
    </dgm:pt>
    <dgm:pt modelId="{E4695047-4360-4B00-8243-B3D50FFD1FBA}" type="pres">
      <dgm:prSet presAssocID="{B55B18AF-498A-4C75-A2DB-95C27E6147D2}" presName="bkgdShape" presStyleLbl="node1" presStyleIdx="1" presStyleCnt="3"/>
      <dgm:spPr/>
    </dgm:pt>
    <dgm:pt modelId="{7AF52DAB-137B-452A-868C-075687F15ECC}" type="pres">
      <dgm:prSet presAssocID="{B55B18AF-498A-4C75-A2DB-95C27E6147D2}" presName="nodeTx" presStyleLbl="node1" presStyleIdx="1" presStyleCnt="3">
        <dgm:presLayoutVars>
          <dgm:bulletEnabled val="1"/>
        </dgm:presLayoutVars>
      </dgm:prSet>
      <dgm:spPr/>
    </dgm:pt>
    <dgm:pt modelId="{84A6440F-53F1-4F83-A113-0FFF5D90D8FB}" type="pres">
      <dgm:prSet presAssocID="{B55B18AF-498A-4C75-A2DB-95C27E6147D2}" presName="invisiNode" presStyleLbl="node1" presStyleIdx="1" presStyleCnt="3"/>
      <dgm:spPr/>
    </dgm:pt>
    <dgm:pt modelId="{FE767839-528F-4BBA-8F4B-3F23142AC39F}" type="pres">
      <dgm:prSet presAssocID="{B55B18AF-498A-4C75-A2DB-95C27E6147D2}"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Utilisateurs avec un remplissage uni"/>
        </a:ext>
      </dgm:extLst>
    </dgm:pt>
    <dgm:pt modelId="{46AFA31C-31D6-4F69-AB75-645570D4ADC1}" type="pres">
      <dgm:prSet presAssocID="{656BD22C-54E1-4957-B510-14381AABC25A}" presName="sibTrans" presStyleLbl="sibTrans2D1" presStyleIdx="0" presStyleCnt="0"/>
      <dgm:spPr/>
    </dgm:pt>
    <dgm:pt modelId="{5C1C4EC6-753A-4C55-9A42-9945390EF036}" type="pres">
      <dgm:prSet presAssocID="{503CDE31-6C94-4AF6-BA37-357CB4FCF3D5}" presName="compNode" presStyleCnt="0"/>
      <dgm:spPr/>
    </dgm:pt>
    <dgm:pt modelId="{24ABF9DC-114F-4F94-98B7-FEB8D8F2ACC4}" type="pres">
      <dgm:prSet presAssocID="{503CDE31-6C94-4AF6-BA37-357CB4FCF3D5}" presName="bkgdShape" presStyleLbl="node1" presStyleIdx="2" presStyleCnt="3"/>
      <dgm:spPr/>
    </dgm:pt>
    <dgm:pt modelId="{D50470B7-CA67-45C6-8D3D-0CC49136ED21}" type="pres">
      <dgm:prSet presAssocID="{503CDE31-6C94-4AF6-BA37-357CB4FCF3D5}" presName="nodeTx" presStyleLbl="node1" presStyleIdx="2" presStyleCnt="3">
        <dgm:presLayoutVars>
          <dgm:bulletEnabled val="1"/>
        </dgm:presLayoutVars>
      </dgm:prSet>
      <dgm:spPr/>
    </dgm:pt>
    <dgm:pt modelId="{B696EF6F-A15D-4F00-9063-7011BCC75322}" type="pres">
      <dgm:prSet presAssocID="{503CDE31-6C94-4AF6-BA37-357CB4FCF3D5}" presName="invisiNode" presStyleLbl="node1" presStyleIdx="2" presStyleCnt="3"/>
      <dgm:spPr/>
    </dgm:pt>
    <dgm:pt modelId="{26131C5D-FBF2-44AD-B0A4-2DA01121DB5C}" type="pres">
      <dgm:prSet presAssocID="{503CDE31-6C94-4AF6-BA37-357CB4FCF3D5}" presName="imagNode" presStyleLbl="fgImgPlace1" presStyleIdx="2" presStyleCnt="3" custScaleX="100482" custScaleY="9931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éditation avec un remplissage uni"/>
        </a:ext>
      </dgm:extLst>
    </dgm:pt>
  </dgm:ptLst>
  <dgm:cxnLst>
    <dgm:cxn modelId="{60DE3308-CBDF-4D09-A239-7194355EAE95}" type="presOf" srcId="{B55B18AF-498A-4C75-A2DB-95C27E6147D2}" destId="{7AF52DAB-137B-452A-868C-075687F15ECC}" srcOrd="1" destOrd="0" presId="urn:microsoft.com/office/officeart/2005/8/layout/hList7"/>
    <dgm:cxn modelId="{9C1F7A21-2C64-4F5B-8BF5-8E4079D3DF89}" srcId="{077695C5-09A0-458A-9F23-BC461F36518F}" destId="{503CDE31-6C94-4AF6-BA37-357CB4FCF3D5}" srcOrd="2" destOrd="0" parTransId="{EBBA6678-5FEE-4709-AD45-20D956AFCB5D}" sibTransId="{BC649F62-DD6F-4006-A49F-48DAE645CB1F}"/>
    <dgm:cxn modelId="{873C6B32-C21A-4EC4-908B-1B6AC248D58C}" type="presOf" srcId="{B55B18AF-498A-4C75-A2DB-95C27E6147D2}" destId="{E4695047-4360-4B00-8243-B3D50FFD1FBA}" srcOrd="0" destOrd="0" presId="urn:microsoft.com/office/officeart/2005/8/layout/hList7"/>
    <dgm:cxn modelId="{7B856D35-40A4-425E-94E2-FC44CC5818A6}" type="presOf" srcId="{656BD22C-54E1-4957-B510-14381AABC25A}" destId="{46AFA31C-31D6-4F69-AB75-645570D4ADC1}" srcOrd="0" destOrd="0" presId="urn:microsoft.com/office/officeart/2005/8/layout/hList7"/>
    <dgm:cxn modelId="{2E236038-659C-4164-A141-B6EE52EFAE58}" type="presOf" srcId="{180EA75F-C16E-457B-B1E1-BC6DC220B65E}" destId="{46F3DA37-3812-43D5-84A6-BF667E3F8262}" srcOrd="0" destOrd="0" presId="urn:microsoft.com/office/officeart/2005/8/layout/hList7"/>
    <dgm:cxn modelId="{281B884A-039E-4331-BD14-CD91CCDC79AE}" srcId="{077695C5-09A0-458A-9F23-BC461F36518F}" destId="{B55B18AF-498A-4C75-A2DB-95C27E6147D2}" srcOrd="1" destOrd="0" parTransId="{EFC92D3E-1E70-4466-8C3D-E0575750A6DF}" sibTransId="{656BD22C-54E1-4957-B510-14381AABC25A}"/>
    <dgm:cxn modelId="{D3550D4B-1279-4044-9266-C25701B9E531}" type="presOf" srcId="{6EDDA166-1BC3-4813-99CE-4A7638E414C2}" destId="{ADE1A769-2B37-4AD8-8F3F-147BB8741EAB}" srcOrd="0" destOrd="0" presId="urn:microsoft.com/office/officeart/2005/8/layout/hList7"/>
    <dgm:cxn modelId="{419869A5-AADD-4407-9543-0FEF7306C31D}" type="presOf" srcId="{077695C5-09A0-458A-9F23-BC461F36518F}" destId="{F78929D8-8ECE-4981-83EF-19868A10CCC6}" srcOrd="0" destOrd="0" presId="urn:microsoft.com/office/officeart/2005/8/layout/hList7"/>
    <dgm:cxn modelId="{2243C3DF-F643-4CDF-A3B9-0B1CF76749D1}" type="presOf" srcId="{180EA75F-C16E-457B-B1E1-BC6DC220B65E}" destId="{BFDF591F-5AED-471A-A592-C670FBF7F600}" srcOrd="1" destOrd="0" presId="urn:microsoft.com/office/officeart/2005/8/layout/hList7"/>
    <dgm:cxn modelId="{4D12BAE5-F79F-4560-A6F4-B7EDD1AB6F01}" type="presOf" srcId="{503CDE31-6C94-4AF6-BA37-357CB4FCF3D5}" destId="{24ABF9DC-114F-4F94-98B7-FEB8D8F2ACC4}" srcOrd="0" destOrd="0" presId="urn:microsoft.com/office/officeart/2005/8/layout/hList7"/>
    <dgm:cxn modelId="{DD795CEA-9BA3-49FD-9649-AB50F702F8FF}" srcId="{077695C5-09A0-458A-9F23-BC461F36518F}" destId="{180EA75F-C16E-457B-B1E1-BC6DC220B65E}" srcOrd="0" destOrd="0" parTransId="{B80A7437-1EF5-4785-AEA6-EAA55DA51F4B}" sibTransId="{6EDDA166-1BC3-4813-99CE-4A7638E414C2}"/>
    <dgm:cxn modelId="{05E258FE-1B30-4BB8-9130-AEF07B6DDEA8}" type="presOf" srcId="{503CDE31-6C94-4AF6-BA37-357CB4FCF3D5}" destId="{D50470B7-CA67-45C6-8D3D-0CC49136ED21}" srcOrd="1" destOrd="0" presId="urn:microsoft.com/office/officeart/2005/8/layout/hList7"/>
    <dgm:cxn modelId="{4DE1FD78-BE73-4D2C-BE6B-7EB8515065BB}" type="presParOf" srcId="{F78929D8-8ECE-4981-83EF-19868A10CCC6}" destId="{D3FEFB0D-C5D7-4E4A-938B-982AAD57A2FE}" srcOrd="0" destOrd="0" presId="urn:microsoft.com/office/officeart/2005/8/layout/hList7"/>
    <dgm:cxn modelId="{A3FC21CF-19A1-448B-B4AC-C684037A0C82}" type="presParOf" srcId="{F78929D8-8ECE-4981-83EF-19868A10CCC6}" destId="{DBF7EC8B-D3A9-4E02-BDCC-4CF6E60F26C3}" srcOrd="1" destOrd="0" presId="urn:microsoft.com/office/officeart/2005/8/layout/hList7"/>
    <dgm:cxn modelId="{B938452E-86A1-407F-8AA3-64276596BFC5}" type="presParOf" srcId="{DBF7EC8B-D3A9-4E02-BDCC-4CF6E60F26C3}" destId="{C470CBE6-8E92-49B3-BD8F-44B12A117CD2}" srcOrd="0" destOrd="0" presId="urn:microsoft.com/office/officeart/2005/8/layout/hList7"/>
    <dgm:cxn modelId="{3B0D9127-5E70-4848-9982-D065AC8FA1A8}" type="presParOf" srcId="{C470CBE6-8E92-49B3-BD8F-44B12A117CD2}" destId="{46F3DA37-3812-43D5-84A6-BF667E3F8262}" srcOrd="0" destOrd="0" presId="urn:microsoft.com/office/officeart/2005/8/layout/hList7"/>
    <dgm:cxn modelId="{BC49EC44-8E72-4E2A-8279-ADDDF327DFE0}" type="presParOf" srcId="{C470CBE6-8E92-49B3-BD8F-44B12A117CD2}" destId="{BFDF591F-5AED-471A-A592-C670FBF7F600}" srcOrd="1" destOrd="0" presId="urn:microsoft.com/office/officeart/2005/8/layout/hList7"/>
    <dgm:cxn modelId="{D6333AD0-F7A6-4B56-88D2-803962D2AD7C}" type="presParOf" srcId="{C470CBE6-8E92-49B3-BD8F-44B12A117CD2}" destId="{1932AAD6-9520-4068-968B-B7AEFBBAF1E3}" srcOrd="2" destOrd="0" presId="urn:microsoft.com/office/officeart/2005/8/layout/hList7"/>
    <dgm:cxn modelId="{745F260F-AA08-448F-AC83-3F587A35881E}" type="presParOf" srcId="{C470CBE6-8E92-49B3-BD8F-44B12A117CD2}" destId="{81BB578D-7A2F-4F30-ACD0-752EC5CCBE19}" srcOrd="3" destOrd="0" presId="urn:microsoft.com/office/officeart/2005/8/layout/hList7"/>
    <dgm:cxn modelId="{25BE6C98-40D0-47DC-94EC-0637BB0AD62F}" type="presParOf" srcId="{DBF7EC8B-D3A9-4E02-BDCC-4CF6E60F26C3}" destId="{ADE1A769-2B37-4AD8-8F3F-147BB8741EAB}" srcOrd="1" destOrd="0" presId="urn:microsoft.com/office/officeart/2005/8/layout/hList7"/>
    <dgm:cxn modelId="{6002F478-0C17-4CF3-B385-74DA6BB1566B}" type="presParOf" srcId="{DBF7EC8B-D3A9-4E02-BDCC-4CF6E60F26C3}" destId="{1EBB4078-53AC-4D62-9023-42C4EAE2977C}" srcOrd="2" destOrd="0" presId="urn:microsoft.com/office/officeart/2005/8/layout/hList7"/>
    <dgm:cxn modelId="{400BC764-6BBF-4925-87E2-910A389788DD}" type="presParOf" srcId="{1EBB4078-53AC-4D62-9023-42C4EAE2977C}" destId="{E4695047-4360-4B00-8243-B3D50FFD1FBA}" srcOrd="0" destOrd="0" presId="urn:microsoft.com/office/officeart/2005/8/layout/hList7"/>
    <dgm:cxn modelId="{600A777F-82F1-4122-8688-BF260148F3AF}" type="presParOf" srcId="{1EBB4078-53AC-4D62-9023-42C4EAE2977C}" destId="{7AF52DAB-137B-452A-868C-075687F15ECC}" srcOrd="1" destOrd="0" presId="urn:microsoft.com/office/officeart/2005/8/layout/hList7"/>
    <dgm:cxn modelId="{3F373E25-9D66-4AE3-BC08-6F02FFC3C030}" type="presParOf" srcId="{1EBB4078-53AC-4D62-9023-42C4EAE2977C}" destId="{84A6440F-53F1-4F83-A113-0FFF5D90D8FB}" srcOrd="2" destOrd="0" presId="urn:microsoft.com/office/officeart/2005/8/layout/hList7"/>
    <dgm:cxn modelId="{2BA22C8C-96F2-4086-B174-E30EF8F5A570}" type="presParOf" srcId="{1EBB4078-53AC-4D62-9023-42C4EAE2977C}" destId="{FE767839-528F-4BBA-8F4B-3F23142AC39F}" srcOrd="3" destOrd="0" presId="urn:microsoft.com/office/officeart/2005/8/layout/hList7"/>
    <dgm:cxn modelId="{A4A90EF3-3359-4C01-AE8F-09B3B5AF7D39}" type="presParOf" srcId="{DBF7EC8B-D3A9-4E02-BDCC-4CF6E60F26C3}" destId="{46AFA31C-31D6-4F69-AB75-645570D4ADC1}" srcOrd="3" destOrd="0" presId="urn:microsoft.com/office/officeart/2005/8/layout/hList7"/>
    <dgm:cxn modelId="{DB173EFE-2AF0-420B-9801-C75DB967C8D7}" type="presParOf" srcId="{DBF7EC8B-D3A9-4E02-BDCC-4CF6E60F26C3}" destId="{5C1C4EC6-753A-4C55-9A42-9945390EF036}" srcOrd="4" destOrd="0" presId="urn:microsoft.com/office/officeart/2005/8/layout/hList7"/>
    <dgm:cxn modelId="{C52D0DFB-067C-40E5-81BF-18AB8FCB5832}" type="presParOf" srcId="{5C1C4EC6-753A-4C55-9A42-9945390EF036}" destId="{24ABF9DC-114F-4F94-98B7-FEB8D8F2ACC4}" srcOrd="0" destOrd="0" presId="urn:microsoft.com/office/officeart/2005/8/layout/hList7"/>
    <dgm:cxn modelId="{386B4E4B-F223-420E-B2C4-745E41EC109A}" type="presParOf" srcId="{5C1C4EC6-753A-4C55-9A42-9945390EF036}" destId="{D50470B7-CA67-45C6-8D3D-0CC49136ED21}" srcOrd="1" destOrd="0" presId="urn:microsoft.com/office/officeart/2005/8/layout/hList7"/>
    <dgm:cxn modelId="{6B4F7940-41F4-40C9-94E9-931AC1D7CE4E}" type="presParOf" srcId="{5C1C4EC6-753A-4C55-9A42-9945390EF036}" destId="{B696EF6F-A15D-4F00-9063-7011BCC75322}" srcOrd="2" destOrd="0" presId="urn:microsoft.com/office/officeart/2005/8/layout/hList7"/>
    <dgm:cxn modelId="{F1373E7F-1E1A-47FD-A8BA-C881D0C7025C}" type="presParOf" srcId="{5C1C4EC6-753A-4C55-9A42-9945390EF036}" destId="{26131C5D-FBF2-44AD-B0A4-2DA01121DB5C}" srcOrd="3" destOrd="0" presId="urn:microsoft.com/office/officeart/2005/8/layout/hList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E007CC-E62E-4C76-8653-AE2AA6178208}">
      <dsp:nvSpPr>
        <dsp:cNvPr id="0" name=""/>
        <dsp:cNvSpPr/>
      </dsp:nvSpPr>
      <dsp:spPr>
        <a:xfrm>
          <a:off x="0" y="0"/>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a:t>Proposer un espace mieux adapté à nos tâches</a:t>
          </a:r>
        </a:p>
        <a:p>
          <a:pPr marL="171450" lvl="1" indent="-171450" algn="l" defTabSz="711200">
            <a:lnSpc>
              <a:spcPct val="90000"/>
            </a:lnSpc>
            <a:spcBef>
              <a:spcPct val="0"/>
            </a:spcBef>
            <a:spcAft>
              <a:spcPct val="15000"/>
            </a:spcAft>
            <a:buChar char="•"/>
          </a:pPr>
          <a:r>
            <a:rPr lang="fr-CA" sz="1600" kern="1200" dirty="0"/>
            <a:t>Certains souhaitent profiter de leur présence au bureau pour collaborer en personne.</a:t>
          </a:r>
        </a:p>
        <a:p>
          <a:pPr marL="171450" lvl="1" indent="-171450" algn="l" defTabSz="711200">
            <a:lnSpc>
              <a:spcPct val="90000"/>
            </a:lnSpc>
            <a:spcBef>
              <a:spcPct val="0"/>
            </a:spcBef>
            <a:spcAft>
              <a:spcPct val="15000"/>
            </a:spcAft>
            <a:buChar char="•"/>
          </a:pPr>
          <a:r>
            <a:rPr lang="fr-CA" sz="1600" kern="1200" dirty="0"/>
            <a:t>Certains ont besoin de tranquillité pour effectuer des tâches individuelles.</a:t>
          </a:r>
        </a:p>
      </dsp:txBody>
      <dsp:txXfrm>
        <a:off x="2221882" y="0"/>
        <a:ext cx="8223832" cy="1327396"/>
      </dsp:txXfrm>
    </dsp:sp>
    <dsp:sp modelId="{B95AE615-A300-40D4-A5F1-F981768E8B3A}">
      <dsp:nvSpPr>
        <dsp:cNvPr id="0" name=""/>
        <dsp:cNvSpPr/>
      </dsp:nvSpPr>
      <dsp:spPr>
        <a:xfrm>
          <a:off x="581132" y="349408"/>
          <a:ext cx="1061493" cy="628580"/>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29000" b="-29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457552D-75A1-4799-A6E8-A49F088A3AC3}">
      <dsp:nvSpPr>
        <dsp:cNvPr id="0" name=""/>
        <dsp:cNvSpPr/>
      </dsp:nvSpPr>
      <dsp:spPr>
        <a:xfrm>
          <a:off x="0" y="1460136"/>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a:t>Favoriser l’accessibilité et l’inclusion</a:t>
          </a:r>
        </a:p>
        <a:p>
          <a:pPr marL="171450" lvl="1" indent="-171450" algn="l" defTabSz="711200">
            <a:lnSpc>
              <a:spcPct val="90000"/>
            </a:lnSpc>
            <a:spcBef>
              <a:spcPct val="0"/>
            </a:spcBef>
            <a:spcAft>
              <a:spcPct val="15000"/>
            </a:spcAft>
            <a:buChar char="•"/>
          </a:pPr>
          <a:r>
            <a:rPr lang="fr-CA" sz="1600" kern="1200" dirty="0"/>
            <a:t>Améliorer l’ergonomie des points de travail.</a:t>
          </a:r>
        </a:p>
        <a:p>
          <a:pPr marL="171450" lvl="1" indent="-171450" algn="l" defTabSz="711200">
            <a:lnSpc>
              <a:spcPct val="90000"/>
            </a:lnSpc>
            <a:spcBef>
              <a:spcPct val="0"/>
            </a:spcBef>
            <a:spcAft>
              <a:spcPct val="15000"/>
            </a:spcAft>
            <a:buChar char="•"/>
          </a:pPr>
          <a:r>
            <a:rPr lang="fr-CA" sz="1600" kern="1200" dirty="0"/>
            <a:t>Offrir plus d’options.</a:t>
          </a:r>
        </a:p>
      </dsp:txBody>
      <dsp:txXfrm>
        <a:off x="2221882" y="1460136"/>
        <a:ext cx="8223832" cy="1327396"/>
      </dsp:txXfrm>
    </dsp:sp>
    <dsp:sp modelId="{FDACB6A6-4368-4805-BEE7-9B6F9B3B3470}">
      <dsp:nvSpPr>
        <dsp:cNvPr id="0" name=""/>
        <dsp:cNvSpPr/>
      </dsp:nvSpPr>
      <dsp:spPr>
        <a:xfrm>
          <a:off x="593145" y="1589127"/>
          <a:ext cx="992092" cy="10372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l="-3000" r="-3000"/>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66D2A5C-93CF-454D-88DD-BC470F0CA08E}">
      <dsp:nvSpPr>
        <dsp:cNvPr id="0" name=""/>
        <dsp:cNvSpPr/>
      </dsp:nvSpPr>
      <dsp:spPr>
        <a:xfrm>
          <a:off x="0" y="2920273"/>
          <a:ext cx="10445715" cy="1327396"/>
        </a:xfrm>
        <a:prstGeom prst="roundRect">
          <a:avLst>
            <a:gd name="adj" fmla="val 10000"/>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fr-CA" sz="2100" kern="1200" dirty="0"/>
            <a:t>Viser l’amélioration de l’expérience en milieu de travail</a:t>
          </a:r>
        </a:p>
        <a:p>
          <a:pPr marL="171450" lvl="1" indent="-171450" algn="l" defTabSz="711200">
            <a:lnSpc>
              <a:spcPct val="90000"/>
            </a:lnSpc>
            <a:spcBef>
              <a:spcPct val="0"/>
            </a:spcBef>
            <a:spcAft>
              <a:spcPct val="15000"/>
            </a:spcAft>
            <a:buChar char="•"/>
          </a:pPr>
          <a:r>
            <a:rPr lang="fr-CA" sz="1600" kern="1200" dirty="0"/>
            <a:t>Faire en sorte que chacun y trouve son compte.</a:t>
          </a:r>
        </a:p>
      </dsp:txBody>
      <dsp:txXfrm>
        <a:off x="2221882" y="2920273"/>
        <a:ext cx="8223832" cy="1327396"/>
      </dsp:txXfrm>
    </dsp:sp>
    <dsp:sp modelId="{10B0BF81-7F94-4DC6-9B57-BB0FFE3EFD0E}">
      <dsp:nvSpPr>
        <dsp:cNvPr id="0" name=""/>
        <dsp:cNvSpPr/>
      </dsp:nvSpPr>
      <dsp:spPr>
        <a:xfrm>
          <a:off x="577016" y="3055025"/>
          <a:ext cx="982482" cy="900983"/>
        </a:xfrm>
        <a:prstGeom prst="roundRect">
          <a:avLst>
            <a:gd name="adj" fmla="val 10000"/>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3DA37-3812-43D5-84A6-BF667E3F8262}">
      <dsp:nvSpPr>
        <dsp:cNvPr id="0" name=""/>
        <dsp:cNvSpPr/>
      </dsp:nvSpPr>
      <dsp:spPr>
        <a:xfrm>
          <a:off x="7" y="0"/>
          <a:ext cx="2807837" cy="4610866"/>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Expérimenter</a:t>
          </a:r>
        </a:p>
      </dsp:txBody>
      <dsp:txXfrm>
        <a:off x="7" y="1844346"/>
        <a:ext cx="2807837" cy="1844346"/>
      </dsp:txXfrm>
    </dsp:sp>
    <dsp:sp modelId="{81BB578D-7A2F-4F30-ACD0-752EC5CCBE19}">
      <dsp:nvSpPr>
        <dsp:cNvPr id="0" name=""/>
        <dsp:cNvSpPr/>
      </dsp:nvSpPr>
      <dsp:spPr>
        <a:xfrm>
          <a:off x="638014" y="276651"/>
          <a:ext cx="1535418" cy="1535418"/>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E4695047-4360-4B00-8243-B3D50FFD1FBA}">
      <dsp:nvSpPr>
        <dsp:cNvPr id="0" name=""/>
        <dsp:cNvSpPr/>
      </dsp:nvSpPr>
      <dsp:spPr>
        <a:xfrm>
          <a:off x="2893876" y="0"/>
          <a:ext cx="2807837" cy="4610866"/>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Penser aux autres</a:t>
          </a:r>
        </a:p>
      </dsp:txBody>
      <dsp:txXfrm>
        <a:off x="2893876" y="1844346"/>
        <a:ext cx="2807837" cy="1844346"/>
      </dsp:txXfrm>
    </dsp:sp>
    <dsp:sp modelId="{FE767839-528F-4BBA-8F4B-3F23142AC39F}">
      <dsp:nvSpPr>
        <dsp:cNvPr id="0" name=""/>
        <dsp:cNvSpPr/>
      </dsp:nvSpPr>
      <dsp:spPr>
        <a:xfrm>
          <a:off x="3530086" y="276651"/>
          <a:ext cx="1535418" cy="153541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24ABF9DC-114F-4F94-98B7-FEB8D8F2ACC4}">
      <dsp:nvSpPr>
        <dsp:cNvPr id="0" name=""/>
        <dsp:cNvSpPr/>
      </dsp:nvSpPr>
      <dsp:spPr>
        <a:xfrm>
          <a:off x="5785949" y="0"/>
          <a:ext cx="2807837" cy="4610866"/>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fr-CA" sz="3000" kern="1200" dirty="0"/>
            <a:t>Être patient</a:t>
          </a:r>
        </a:p>
      </dsp:txBody>
      <dsp:txXfrm>
        <a:off x="5785949" y="1844346"/>
        <a:ext cx="2807837" cy="1844346"/>
      </dsp:txXfrm>
    </dsp:sp>
    <dsp:sp modelId="{26131C5D-FBF2-44AD-B0A4-2DA01121DB5C}">
      <dsp:nvSpPr>
        <dsp:cNvPr id="0" name=""/>
        <dsp:cNvSpPr/>
      </dsp:nvSpPr>
      <dsp:spPr>
        <a:xfrm>
          <a:off x="6418458" y="281895"/>
          <a:ext cx="1542819" cy="1524931"/>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a:effectLst>
          <a:outerShdw blurRad="57150" dist="19050" dir="5400000" algn="ctr" rotWithShape="0">
            <a:srgbClr val="000000">
              <a:alpha val="63000"/>
            </a:srgbClr>
          </a:outerShdw>
        </a:effectLst>
      </dsp:spPr>
      <dsp:style>
        <a:lnRef idx="0">
          <a:scrgbClr r="0" g="0" b="0"/>
        </a:lnRef>
        <a:fillRef idx="1">
          <a:scrgbClr r="0" g="0" b="0"/>
        </a:fillRef>
        <a:effectRef idx="3">
          <a:scrgbClr r="0" g="0" b="0"/>
        </a:effectRef>
        <a:fontRef idx="minor"/>
      </dsp:style>
    </dsp:sp>
    <dsp:sp modelId="{D3FEFB0D-C5D7-4E4A-938B-982AAD57A2FE}">
      <dsp:nvSpPr>
        <dsp:cNvPr id="0" name=""/>
        <dsp:cNvSpPr/>
      </dsp:nvSpPr>
      <dsp:spPr>
        <a:xfrm>
          <a:off x="343823" y="3688692"/>
          <a:ext cx="7907943" cy="691629"/>
        </a:xfrm>
        <a:prstGeom prst="lef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4/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4/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Voici des exemples d’activités privilégiées dans une zone tranquille :</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Travailler sur des dossiers ou répondre à des courriels.</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Prendre une formation dans laquelle vous n’avez qu’à écouter.</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ssister à des rencontres virtuelles dans laquelle vous n’avez pas à intervenir.</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Parmi les activités à éviter dans une zone tranquille, on retrouve :</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Prendre un appel téléphonique ou Teams dans lequel on devra intervenir fréquemment.</a:t>
            </a:r>
          </a:p>
          <a:p>
            <a:pPr marL="285750" marR="0" lvl="0" indent="-285750">
              <a:spcBef>
                <a:spcPts val="600"/>
              </a:spcBef>
              <a:spcAft>
                <a:spcPts val="0"/>
              </a:spcAft>
              <a:buFontTx/>
              <a:buChar char="-"/>
            </a:pPr>
            <a:r>
              <a:rPr lang="fr-CA" sz="1800" dirty="0">
                <a:effectLst/>
                <a:latin typeface="Calibri Light" panose="020F0302020204030204" pitchFamily="34" charset="0"/>
                <a:ea typeface="Calibri" panose="020F0502020204030204" pitchFamily="34" charset="0"/>
                <a:cs typeface="Calibri" panose="020F0502020204030204" pitchFamily="34" charset="0"/>
              </a:rPr>
              <a:t>Avoir des conversations prolongées avec des collègues.</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endParaRPr lang="fr-CA" sz="1800" dirty="0">
              <a:effectLst/>
              <a:latin typeface="Calibri Light" panose="020F0302020204030204" pitchFamily="34" charset="0"/>
              <a:ea typeface="Calibri" panose="020F0502020204030204" pitchFamily="34" charset="0"/>
              <a:cs typeface="Calibri" panose="020F0502020204030204" pitchFamily="34" charset="0"/>
            </a:endParaRPr>
          </a:p>
          <a:p>
            <a:pPr marL="0" marR="0">
              <a:spcBef>
                <a:spcPts val="1200"/>
              </a:spcBef>
              <a:spcAft>
                <a:spcPts val="0"/>
              </a:spcAft>
            </a:pPr>
            <a:r>
              <a:rPr lang="fr-CA" sz="1800" dirty="0">
                <a:effectLst/>
                <a:latin typeface="Calibri Light" panose="020F0302020204030204" pitchFamily="34" charset="0"/>
                <a:ea typeface="Calibri" panose="020F0502020204030204" pitchFamily="34" charset="0"/>
                <a:cs typeface="Calibri" panose="020F0502020204030204" pitchFamily="34" charset="0"/>
              </a:rPr>
              <a:t>Si vous travaillez dans une zone tranquille et que vous recevez un appel ou devez discuter avec un collègue plus que </a:t>
            </a:r>
            <a:r>
              <a:rPr lang="fr-CA" sz="1800" b="1" dirty="0">
                <a:effectLst/>
                <a:latin typeface="Calibri Light" panose="020F0302020204030204" pitchFamily="34" charset="0"/>
                <a:ea typeface="Calibri" panose="020F0502020204030204" pitchFamily="34" charset="0"/>
                <a:cs typeface="Calibri" panose="020F0502020204030204" pitchFamily="34" charset="0"/>
              </a:rPr>
              <a:t>quelques minutes</a:t>
            </a:r>
            <a:r>
              <a:rPr lang="fr-CA" sz="1800" dirty="0">
                <a:effectLst/>
                <a:latin typeface="Calibri Light" panose="020F0302020204030204" pitchFamily="34" charset="0"/>
                <a:ea typeface="Calibri" panose="020F0502020204030204" pitchFamily="34" charset="0"/>
                <a:cs typeface="Calibri" panose="020F0502020204030204" pitchFamily="34" charset="0"/>
              </a:rPr>
              <a:t>, vous devez </a:t>
            </a:r>
            <a:r>
              <a:rPr lang="fr-CA" sz="1800" b="1" dirty="0">
                <a:effectLst/>
                <a:latin typeface="Calibri Light" panose="020F0302020204030204" pitchFamily="34" charset="0"/>
                <a:ea typeface="Calibri" panose="020F0502020204030204" pitchFamily="34" charset="0"/>
                <a:cs typeface="Calibri" panose="020F0502020204030204" pitchFamily="34" charset="0"/>
              </a:rPr>
              <a:t>vous déplacer</a:t>
            </a:r>
            <a:r>
              <a:rPr lang="fr-CA" sz="1800" dirty="0">
                <a:effectLst/>
                <a:latin typeface="Calibri Light" panose="020F0302020204030204" pitchFamily="34" charset="0"/>
                <a:ea typeface="Calibri" panose="020F0502020204030204" pitchFamily="34" charset="0"/>
                <a:cs typeface="Calibri" panose="020F0502020204030204" pitchFamily="34" charset="0"/>
              </a:rPr>
              <a:t> afin de respecter vos collègues qui ont choisi cet emplacement pour sa tranquillité.</a:t>
            </a:r>
            <a:endParaRPr lang="en-CA" sz="1800" dirty="0">
              <a:effectLst/>
              <a:latin typeface="Calibri Light" panose="020F0302020204030204" pitchFamily="34" charset="0"/>
              <a:ea typeface="Calibri" panose="020F0502020204030204" pitchFamily="34" charset="0"/>
              <a:cs typeface="Calibri" panose="020F0502020204030204" pitchFamily="34" charset="0"/>
            </a:endParaRPr>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782940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8812554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Expérimenter :</a:t>
            </a:r>
          </a:p>
          <a:p>
            <a:r>
              <a:rPr lang="fr-CA" dirty="0"/>
              <a:t>On vous demande de faire preuve d’ouverture et de commencer par l’essayer, le mettre à l’essai, puis de nous faire part de votre rétroaction.</a:t>
            </a:r>
          </a:p>
          <a:p>
            <a:r>
              <a:rPr lang="fr-CA" dirty="0"/>
              <a:t>Plusieurs d’entre vous sont probablement en train de dresser la liste de pourquoi ces façons de faire ne fonctionnent pas pour vous. </a:t>
            </a:r>
          </a:p>
          <a:p>
            <a:r>
              <a:rPr lang="fr-CA" dirty="0"/>
              <a:t>Nous comprenons que ce sont d’importants changements qui s’ajoutent probablement à d’autres changements que vous vivez.</a:t>
            </a:r>
          </a:p>
          <a:p>
            <a:r>
              <a:rPr lang="fr-CA" dirty="0"/>
              <a:t>Comme mentionné précédemment, nous visons l’amélioration de votre expérience au bureau. Pour cela, nous vous demandons de venir essayer l’espace, puis de nous revenir avec votre rétroaction. Il y a des éléments assez flexibles dans ce que nous mettrons en place.</a:t>
            </a:r>
          </a:p>
          <a:p>
            <a:r>
              <a:rPr lang="fr-CA" dirty="0"/>
              <a:t>Par exemple : s’il y a beaucoup d’activités de collaboration et d’échanges sur votre étage, peut-être que nous devrons ajuster la taille de la zone tranquille si elle est trop grande.  </a:t>
            </a:r>
          </a:p>
          <a:p>
            <a:endParaRPr lang="fr-CA" dirty="0"/>
          </a:p>
          <a:p>
            <a:r>
              <a:rPr lang="fr-CA" dirty="0"/>
              <a:t>Penser aux autres : </a:t>
            </a:r>
          </a:p>
          <a:p>
            <a:r>
              <a:rPr lang="fr-CA" dirty="0"/>
              <a:t>Évidemment quand on fait la transition vers des espaces partagés, le mot partagé dit tout : il faut penser aux gens autour de nous dans un premier temps, mais aussi à la prochaine personne qui utilisera ou qui voudra utiliser le point de travail où l’on se trouve.</a:t>
            </a:r>
          </a:p>
          <a:p>
            <a:r>
              <a:rPr lang="fr-CA" dirty="0"/>
              <a:t>On parle ici de propreté, de bruit, d’odeurs, mais aussi de bien utiliser l’outil de réservation, de respecter les horaires pour les salles, etc.. Au fur et à mesure que le projet avancera, on va vous parler de normes communautaires, et on vous fournira les guides nécessaires pour apprivoiser les nouvelles façons de faire et de vivre-ensemble.</a:t>
            </a:r>
          </a:p>
          <a:p>
            <a:endParaRPr lang="fr-CA" dirty="0"/>
          </a:p>
          <a:p>
            <a:r>
              <a:rPr lang="fr-CA" dirty="0"/>
              <a:t>Finalement : probablement que tout ne sera pas parfait dès le début. Nous allons tous devoir faire preuve de patience et de tolérance le temps de s’habituer à notre nouveau normal.</a:t>
            </a:r>
          </a:p>
          <a:p>
            <a:endParaRPr lang="fr-CA" dirty="0"/>
          </a:p>
          <a:p>
            <a:endParaRPr lang="fr-CA" dirty="0"/>
          </a:p>
          <a:p>
            <a:endParaRPr lang="fr-CA" dirty="0"/>
          </a:p>
          <a:p>
            <a:endParaRPr lang="fr-CA" dirty="0"/>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9316732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1965149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2020721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1195990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049587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CA" sz="1200" noProof="0" dirty="0">
                <a:latin typeface="Avenir Next LT Pro"/>
              </a:rPr>
              <a:t>Le budget 2024 indique que le gouvernement entame une réduction de 50 % des immeubles </a:t>
            </a:r>
            <a:r>
              <a:rPr lang="fr-CA" dirty="0">
                <a:latin typeface="Avenir Next LT Pro"/>
              </a:rPr>
              <a:t>à </a:t>
            </a:r>
            <a:r>
              <a:rPr lang="fr-CA" sz="1200" noProof="0" dirty="0">
                <a:latin typeface="Avenir Next LT Pro"/>
              </a:rPr>
              <a:t>bureaux, répartie sur les 10 prochaines anné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noProof="0" dirty="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noProof="0" dirty="0">
                <a:latin typeface="Avenir Next LT Pro" panose="020B0504020202020204" pitchFamily="34" charset="0"/>
              </a:rPr>
              <a:t>Derrière cette mesure, il y a un élément de rigueur de la gestion des ressources publiques, mais cela vise aussi à répondre à la crise du logement. Les propriétés excédentaires seront évaluées dans le but de les retourner aux Canadiens et Canadiennes pour le logement et pour d’autres priorités communautaires.</a:t>
            </a:r>
          </a:p>
          <a:p>
            <a:endParaRPr lang="fr-CA" noProof="0" dirty="0"/>
          </a:p>
          <a:p>
            <a:r>
              <a:rPr lang="fr-CA" noProof="0" dirty="0"/>
              <a:t>Le gouvernement vise donc à libérer les espaces vacants et sous-utilisés. Les ministères et agences doivent donc adopter un modèle de travail hybride si ce n’est pas encore fait, et faire la transition vers des postes de travail non attribués. </a:t>
            </a:r>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305660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4253023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Voici quelques éléments à considérer dans vos notes d’allocutions</a:t>
            </a:r>
          </a:p>
          <a:p>
            <a:endParaRPr lang="fr-CA" noProof="0" dirty="0"/>
          </a:p>
          <a:p>
            <a:r>
              <a:rPr lang="fr-CA" noProof="0" dirty="0"/>
              <a:t>Proposer un espace mieux adapté à nos tâches :</a:t>
            </a:r>
          </a:p>
          <a:p>
            <a:pPr marL="171450" indent="-171450">
              <a:buFontTx/>
              <a:buChar char="-"/>
            </a:pPr>
            <a:r>
              <a:rPr lang="fr-CA" noProof="0" dirty="0"/>
              <a:t>Reconnaître le fait qu’il faut prendre plus d’appels qu’avant.</a:t>
            </a:r>
          </a:p>
          <a:p>
            <a:pPr marL="171450" indent="-171450">
              <a:buFontTx/>
              <a:buChar char="-"/>
            </a:pPr>
            <a:r>
              <a:rPr lang="fr-CA" noProof="0" dirty="0"/>
              <a:t>Donner des exemples de ce que vous observez dans votre organisation. Par exemple, plusieurs personnes sont en réunion Teams à leur bureau plutôt que d’être ensemble dans une salle.</a:t>
            </a:r>
          </a:p>
          <a:p>
            <a:pPr marL="171450" indent="-171450">
              <a:buFontTx/>
              <a:buChar char="-"/>
            </a:pPr>
            <a:r>
              <a:rPr lang="fr-CA" noProof="0" dirty="0"/>
              <a:t>On ne peut pas présumer que les gens vont au bureau pour collaborer. Plusieurs font du travail à leur point de travail toute la journée. Il doit donc y avoir un équilibre entre l’espace où on peut se concentrer et l’espace où l’on peut travailler en équipe.</a:t>
            </a:r>
          </a:p>
          <a:p>
            <a:pPr marL="171450" indent="-171450">
              <a:buFontTx/>
              <a:buChar char="-"/>
            </a:pPr>
            <a:endParaRPr lang="fr-CA" noProof="0" dirty="0"/>
          </a:p>
          <a:p>
            <a:pPr marL="0" indent="0">
              <a:buFontTx/>
              <a:buNone/>
            </a:pPr>
            <a:r>
              <a:rPr lang="fr-CA" noProof="0" dirty="0"/>
              <a:t>Favoriser l’accessibilité et l’inclusion :</a:t>
            </a:r>
          </a:p>
          <a:p>
            <a:pPr marL="171450" indent="-171450">
              <a:buFontTx/>
              <a:buChar char="-"/>
            </a:pPr>
            <a:r>
              <a:rPr lang="fr-CA" noProof="0" dirty="0"/>
              <a:t>En donnant plus d’accès à des salles cela offre plus d’options pour les gens qui, par exemple, vivent avec de l’hypersensibilité.</a:t>
            </a:r>
          </a:p>
          <a:p>
            <a:pPr marL="171450" indent="-171450">
              <a:buFontTx/>
              <a:buChar char="-"/>
            </a:pPr>
            <a:r>
              <a:rPr lang="fr-CA" noProof="0" dirty="0"/>
              <a:t>Indiquer si du mobilier ergonomique sera fourni à chaque ou à une portion des postes de travail.</a:t>
            </a:r>
          </a:p>
          <a:p>
            <a:pPr marL="171450" indent="-171450">
              <a:buFontTx/>
              <a:buChar char="-"/>
            </a:pPr>
            <a:r>
              <a:rPr lang="fr-CA" noProof="0" dirty="0"/>
              <a:t>Rappeler que les obligations d’accommodements continuent d’être traitées au cas par cas.</a:t>
            </a:r>
          </a:p>
          <a:p>
            <a:pPr marL="171450" indent="-171450">
              <a:buFontTx/>
              <a:buChar char="-"/>
            </a:pPr>
            <a:endParaRPr lang="fr-CA" noProof="0" dirty="0"/>
          </a:p>
          <a:p>
            <a:pPr marL="0" indent="0">
              <a:buFontTx/>
              <a:buNone/>
            </a:pPr>
            <a:r>
              <a:rPr lang="fr-CA" noProof="0" dirty="0"/>
              <a:t>Viser l’amélioration de l’expérience au milieu de travail :</a:t>
            </a:r>
          </a:p>
          <a:p>
            <a:pPr marL="171450" indent="-171450">
              <a:buFontTx/>
              <a:buChar char="-"/>
            </a:pPr>
            <a:r>
              <a:rPr lang="fr-CA" noProof="0" dirty="0"/>
              <a:t>Nous avons individuellement des besoins et attentes différentes en venant au lieu de travail et nous croyons qu’un modèle de postes non assignés peut offrir des options différentes afin que chacun d’entre vous y trouve son compte lorsque vous vous présentez au bureau.</a:t>
            </a:r>
          </a:p>
          <a:p>
            <a:pPr marL="0" indent="0">
              <a:buFontTx/>
              <a:buNone/>
            </a:pP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257618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4750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Les besoins et préférences peuvent être liés aux tâches (ex : besoin de deux moniteurs) ou à des préférences personnelles : un point de travail dans une zone plus fraîche, ou plus près de la machine à café!</a:t>
            </a:r>
          </a:p>
          <a:p>
            <a:endParaRPr lang="fr-CA" noProof="0" dirty="0"/>
          </a:p>
          <a:p>
            <a:r>
              <a:rPr lang="fr-CA" noProof="0" dirty="0"/>
              <a:t>Sachez que les applications de réservation servent uniquement à gérer la capacité afin que chacun soit assuré d’avoir un point de travail. Il n’est pas utilisé pour vérifier la présence au bureau.</a:t>
            </a:r>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14363236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585681" y="6402831"/>
            <a:ext cx="2036645" cy="19499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10.xml"/><Relationship Id="rId7" Type="http://schemas.openxmlformats.org/officeDocument/2006/relationships/slideLayout" Target="../slideLayouts/slideLayout1.xml"/><Relationship Id="rId12" Type="http://schemas.openxmlformats.org/officeDocument/2006/relationships/image" Target="../media/image6.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5.png"/><Relationship Id="rId5" Type="http://schemas.openxmlformats.org/officeDocument/2006/relationships/tags" Target="../tags/tag12.xml"/><Relationship Id="rId10" Type="http://schemas.openxmlformats.org/officeDocument/2006/relationships/image" Target="../media/image1.emf"/><Relationship Id="rId4" Type="http://schemas.openxmlformats.org/officeDocument/2006/relationships/tags" Target="../tags/tag11.xml"/><Relationship Id="rId9"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12" Type="http://schemas.openxmlformats.org/officeDocument/2006/relationships/image" Target="../media/image21.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11" Type="http://schemas.openxmlformats.org/officeDocument/2006/relationships/image" Target="../media/image5.png"/><Relationship Id="rId5" Type="http://schemas.openxmlformats.org/officeDocument/2006/relationships/tags" Target="../tags/tag74.xml"/><Relationship Id="rId10" Type="http://schemas.openxmlformats.org/officeDocument/2006/relationships/notesSlide" Target="../notesSlides/notesSlide10.xml"/><Relationship Id="rId4" Type="http://schemas.openxmlformats.org/officeDocument/2006/relationships/tags" Target="../tags/tag73.xml"/><Relationship Id="rId9"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image" Target="../media/image5.png"/><Relationship Id="rId4" Type="http://schemas.openxmlformats.org/officeDocument/2006/relationships/tags" Target="../tags/tag81.xml"/><Relationship Id="rId9"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87.xml"/><Relationship Id="rId7" Type="http://schemas.openxmlformats.org/officeDocument/2006/relationships/image" Target="../media/image5.png"/><Relationship Id="rId12" Type="http://schemas.microsoft.com/office/2007/relationships/diagramDrawing" Target="../diagrams/drawing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notesSlide" Target="../notesSlides/notesSlide12.xml"/><Relationship Id="rId11" Type="http://schemas.openxmlformats.org/officeDocument/2006/relationships/diagramColors" Target="../diagrams/colors2.xml"/><Relationship Id="rId5" Type="http://schemas.openxmlformats.org/officeDocument/2006/relationships/slideLayout" Target="../slideLayouts/slideLayout14.xml"/><Relationship Id="rId10" Type="http://schemas.openxmlformats.org/officeDocument/2006/relationships/diagramQuickStyle" Target="../diagrams/quickStyle2.xml"/><Relationship Id="rId4" Type="http://schemas.openxmlformats.org/officeDocument/2006/relationships/tags" Target="../tags/tag88.xml"/><Relationship Id="rId9"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9" Type="http://schemas.openxmlformats.org/officeDocument/2006/relationships/tags" Target="../tags/tag127.xml"/><Relationship Id="rId21" Type="http://schemas.openxmlformats.org/officeDocument/2006/relationships/tags" Target="../tags/tag109.xml"/><Relationship Id="rId34" Type="http://schemas.openxmlformats.org/officeDocument/2006/relationships/tags" Target="../tags/tag122.xml"/><Relationship Id="rId42" Type="http://schemas.openxmlformats.org/officeDocument/2006/relationships/tags" Target="../tags/tag130.xml"/><Relationship Id="rId47" Type="http://schemas.openxmlformats.org/officeDocument/2006/relationships/tags" Target="../tags/tag135.xml"/><Relationship Id="rId50" Type="http://schemas.openxmlformats.org/officeDocument/2006/relationships/tags" Target="../tags/tag138.xml"/><Relationship Id="rId55" Type="http://schemas.openxmlformats.org/officeDocument/2006/relationships/tags" Target="../tags/tag143.xml"/><Relationship Id="rId7" Type="http://schemas.openxmlformats.org/officeDocument/2006/relationships/tags" Target="../tags/tag9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33" Type="http://schemas.openxmlformats.org/officeDocument/2006/relationships/tags" Target="../tags/tag121.xml"/><Relationship Id="rId38" Type="http://schemas.openxmlformats.org/officeDocument/2006/relationships/tags" Target="../tags/tag126.xml"/><Relationship Id="rId46" Type="http://schemas.openxmlformats.org/officeDocument/2006/relationships/tags" Target="../tags/tag134.xml"/><Relationship Id="rId59" Type="http://schemas.openxmlformats.org/officeDocument/2006/relationships/image" Target="../media/image5.png"/><Relationship Id="rId2" Type="http://schemas.openxmlformats.org/officeDocument/2006/relationships/tags" Target="../tags/tag90.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tags" Target="../tags/tag117.xml"/><Relationship Id="rId41" Type="http://schemas.openxmlformats.org/officeDocument/2006/relationships/tags" Target="../tags/tag129.xml"/><Relationship Id="rId54" Type="http://schemas.openxmlformats.org/officeDocument/2006/relationships/tags" Target="../tags/tag142.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tags" Target="../tags/tag112.xml"/><Relationship Id="rId32" Type="http://schemas.openxmlformats.org/officeDocument/2006/relationships/tags" Target="../tags/tag120.xml"/><Relationship Id="rId37" Type="http://schemas.openxmlformats.org/officeDocument/2006/relationships/tags" Target="../tags/tag125.xml"/><Relationship Id="rId40" Type="http://schemas.openxmlformats.org/officeDocument/2006/relationships/tags" Target="../tags/tag128.xml"/><Relationship Id="rId45" Type="http://schemas.openxmlformats.org/officeDocument/2006/relationships/tags" Target="../tags/tag133.xml"/><Relationship Id="rId53" Type="http://schemas.openxmlformats.org/officeDocument/2006/relationships/tags" Target="../tags/tag141.xml"/><Relationship Id="rId58" Type="http://schemas.openxmlformats.org/officeDocument/2006/relationships/notesSlide" Target="../notesSlides/notesSlide13.xml"/><Relationship Id="rId5" Type="http://schemas.openxmlformats.org/officeDocument/2006/relationships/tags" Target="../tags/tag93.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tags" Target="../tags/tag116.xml"/><Relationship Id="rId36" Type="http://schemas.openxmlformats.org/officeDocument/2006/relationships/tags" Target="../tags/tag124.xml"/><Relationship Id="rId49" Type="http://schemas.openxmlformats.org/officeDocument/2006/relationships/tags" Target="../tags/tag137.xml"/><Relationship Id="rId57" Type="http://schemas.openxmlformats.org/officeDocument/2006/relationships/slideLayout" Target="../slideLayouts/slideLayout14.xml"/><Relationship Id="rId10" Type="http://schemas.openxmlformats.org/officeDocument/2006/relationships/tags" Target="../tags/tag98.xml"/><Relationship Id="rId19" Type="http://schemas.openxmlformats.org/officeDocument/2006/relationships/tags" Target="../tags/tag107.xml"/><Relationship Id="rId31" Type="http://schemas.openxmlformats.org/officeDocument/2006/relationships/tags" Target="../tags/tag119.xml"/><Relationship Id="rId44" Type="http://schemas.openxmlformats.org/officeDocument/2006/relationships/tags" Target="../tags/tag132.xml"/><Relationship Id="rId52" Type="http://schemas.openxmlformats.org/officeDocument/2006/relationships/tags" Target="../tags/tag140.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tags" Target="../tags/tag115.xml"/><Relationship Id="rId30" Type="http://schemas.openxmlformats.org/officeDocument/2006/relationships/tags" Target="../tags/tag118.xml"/><Relationship Id="rId35" Type="http://schemas.openxmlformats.org/officeDocument/2006/relationships/tags" Target="../tags/tag123.xml"/><Relationship Id="rId43" Type="http://schemas.openxmlformats.org/officeDocument/2006/relationships/tags" Target="../tags/tag131.xml"/><Relationship Id="rId48" Type="http://schemas.openxmlformats.org/officeDocument/2006/relationships/tags" Target="../tags/tag136.xml"/><Relationship Id="rId56" Type="http://schemas.openxmlformats.org/officeDocument/2006/relationships/tags" Target="../tags/tag144.xml"/><Relationship Id="rId8" Type="http://schemas.openxmlformats.org/officeDocument/2006/relationships/tags" Target="../tags/tag96.xml"/><Relationship Id="rId51" Type="http://schemas.openxmlformats.org/officeDocument/2006/relationships/tags" Target="../tags/tag139.xml"/><Relationship Id="rId3" Type="http://schemas.openxmlformats.org/officeDocument/2006/relationships/tags" Target="../tags/tag91.xml"/></Relationships>
</file>

<file path=ppt/slides/_rels/slide14.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5.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notesSlide" Target="../notesSlides/notesSlide14.xml"/><Relationship Id="rId5" Type="http://schemas.openxmlformats.org/officeDocument/2006/relationships/slideLayout" Target="../slideLayouts/slideLayout14.xml"/><Relationship Id="rId4" Type="http://schemas.openxmlformats.org/officeDocument/2006/relationships/tags" Target="../tags/tag148.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30.png"/><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9.sv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28.png"/><Relationship Id="rId5" Type="http://schemas.openxmlformats.org/officeDocument/2006/relationships/tags" Target="../tags/tag153.xml"/><Relationship Id="rId10" Type="http://schemas.openxmlformats.org/officeDocument/2006/relationships/image" Target="../media/image5.png"/><Relationship Id="rId4" Type="http://schemas.openxmlformats.org/officeDocument/2006/relationships/tags" Target="../tags/tag152.xml"/><Relationship Id="rId9" Type="http://schemas.openxmlformats.org/officeDocument/2006/relationships/notesSlide" Target="../notesSlides/notesSlide15.xml"/><Relationship Id="rId14"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3.xml"/><Relationship Id="rId5" Type="http://schemas.openxmlformats.org/officeDocument/2006/relationships/slideLayout" Target="../slideLayouts/slideLayout14.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14.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7.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5.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image" Target="../media/image8.png"/><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image" Target="../media/image5.png"/><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11.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notesSlide" Target="../notesSlides/notesSlide5.xml"/><Relationship Id="rId32" Type="http://schemas.openxmlformats.org/officeDocument/2006/relationships/image" Target="../media/image14.png"/><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slideLayout" Target="../slideLayouts/slideLayout14.xml"/><Relationship Id="rId28" Type="http://schemas.openxmlformats.org/officeDocument/2006/relationships/image" Target="../media/image10.png"/><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image" Target="../media/image13.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image" Target="../media/image9.png"/><Relationship Id="rId30"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diagramColors" Target="../diagrams/colors1.xml"/><Relationship Id="rId3" Type="http://schemas.openxmlformats.org/officeDocument/2006/relationships/tags" Target="../tags/tag57.xml"/><Relationship Id="rId7" Type="http://schemas.openxmlformats.org/officeDocument/2006/relationships/notesSlide" Target="../notesSlides/notesSlide6.xml"/><Relationship Id="rId12" Type="http://schemas.openxmlformats.org/officeDocument/2006/relationships/diagramQuickStyle" Target="../diagrams/quickStyle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slideLayout" Target="../slideLayouts/slideLayout14.xml"/><Relationship Id="rId11" Type="http://schemas.openxmlformats.org/officeDocument/2006/relationships/diagramLayout" Target="../diagrams/layout1.xml"/><Relationship Id="rId5" Type="http://schemas.openxmlformats.org/officeDocument/2006/relationships/tags" Target="../tags/tag59.xml"/><Relationship Id="rId10" Type="http://schemas.openxmlformats.org/officeDocument/2006/relationships/diagramData" Target="../diagrams/data1.xml"/><Relationship Id="rId4" Type="http://schemas.openxmlformats.org/officeDocument/2006/relationships/tags" Target="../tags/tag58.xml"/><Relationship Id="rId9" Type="http://schemas.openxmlformats.org/officeDocument/2006/relationships/image" Target="../media/image5.png"/><Relationship Id="rId14"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5.png"/><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notesSlide" Target="../notesSlides/notesSlide7.xml"/><Relationship Id="rId5" Type="http://schemas.openxmlformats.org/officeDocument/2006/relationships/slideLayout" Target="../slideLayouts/slideLayout14.xml"/><Relationship Id="rId4" Type="http://schemas.openxmlformats.org/officeDocument/2006/relationships/tags" Target="../tags/tag6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7.xml"/><Relationship Id="rId7" Type="http://schemas.openxmlformats.org/officeDocument/2006/relationships/notesSlide" Target="../notesSlides/notesSlide9.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Layout" Target="../slideLayouts/slideLayout14.xml"/><Relationship Id="rId5" Type="http://schemas.openxmlformats.org/officeDocument/2006/relationships/tags" Target="../tags/tag69.xml"/><Relationship Id="rId4" Type="http://schemas.openxmlformats.org/officeDocument/2006/relationships/tags" Target="../tags/tag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11163A5-7CB5-46A7-AE5F-BC3D5AAEA03C}"/>
              </a:ext>
            </a:extLst>
          </p:cNvPr>
          <p:cNvSpPr/>
          <p:nvPr>
            <p:custDataLst>
              <p:tags r:id="rId1"/>
            </p:custDataLst>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custDataLst>
              <p:tags r:id="rId2"/>
            </p:custDataLst>
          </p:nvPr>
        </p:nvSpPr>
        <p:spPr>
          <a:xfrm>
            <a:off x="3810311" y="3063302"/>
            <a:ext cx="6905313"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Projet d’optimisation du milieu de travail</a:t>
            </a:r>
          </a:p>
        </p:txBody>
      </p:sp>
      <p:sp>
        <p:nvSpPr>
          <p:cNvPr id="19" name="Subtitle 2">
            <a:extLst>
              <a:ext uri="{FF2B5EF4-FFF2-40B4-BE49-F238E27FC236}">
                <a16:creationId xmlns:a16="http://schemas.microsoft.com/office/drawing/2014/main" id="{6F17F2A8-C13F-4D59-AEE3-797B6ED58FD3}"/>
              </a:ext>
            </a:extLst>
          </p:cNvPr>
          <p:cNvSpPr txBox="1">
            <a:spLocks/>
          </p:cNvSpPr>
          <p:nvPr>
            <p:custDataLst>
              <p:tags r:id="rId3"/>
            </p:custDataLst>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4"/>
            </p:custDataLst>
            <p:extLst>
              <p:ext uri="{D42A27DB-BD31-4B8C-83A1-F6EECF244321}">
                <p14:modId xmlns:p14="http://schemas.microsoft.com/office/powerpoint/2010/main" val="2903300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custDataLst>
              <p:tags r:id="rId5"/>
            </p:custDataLst>
          </p:nvPr>
        </p:nvPicPr>
        <p:blipFill>
          <a:blip r:embed="rId11">
            <a:extLst>
              <a:ext uri="{28A0092B-C50C-407E-A947-70E740481C1C}">
                <a14:useLocalDpi xmlns:a14="http://schemas.microsoft.com/office/drawing/2010/main" val="0"/>
              </a:ext>
            </a:extLst>
          </a:blip>
          <a:srcRect/>
          <a:stretch/>
        </p:blipFill>
        <p:spPr>
          <a:xfrm>
            <a:off x="586140" y="1607996"/>
            <a:ext cx="2665592"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auto">
          <a:xfrm>
            <a:off x="10252918" y="136512"/>
            <a:ext cx="1709639" cy="421754"/>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66694"/>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Zone Tranquill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283017" y="1555390"/>
            <a:ext cx="5385110" cy="2492990"/>
          </a:xfrm>
          <a:prstGeom prst="rect">
            <a:avLst/>
          </a:prstGeom>
          <a:noFill/>
        </p:spPr>
        <p:txBody>
          <a:bodyPr wrap="square">
            <a:spAutoFit/>
          </a:bodyPr>
          <a:lstStyle/>
          <a:p>
            <a:pPr marL="285750" indent="-285750">
              <a:buFont typeface="Arial" panose="020B0604020202020204" pitchFamily="34" charset="0"/>
              <a:buChar char="•"/>
            </a:pPr>
            <a:r>
              <a:rPr lang="fr-CA" sz="2000" dirty="0">
                <a:latin typeface="Avenir Next LT Pro" panose="020B0504020202020204" pitchFamily="34" charset="0"/>
              </a:rPr>
              <a:t>Une zone tranquille sera aménagée sur chaque étage.</a:t>
            </a:r>
          </a:p>
          <a:p>
            <a:endParaRPr lang="fr-CA" sz="2000" dirty="0">
              <a:latin typeface="Avenir Next LT Pro" panose="020B0504020202020204" pitchFamily="34" charset="0"/>
            </a:endParaRPr>
          </a:p>
          <a:p>
            <a:pPr marL="285750" indent="-285750">
              <a:buFont typeface="Arial" panose="020B0604020202020204" pitchFamily="34" charset="0"/>
              <a:buChar char="•"/>
            </a:pPr>
            <a:r>
              <a:rPr lang="fr-CA" sz="2000" dirty="0">
                <a:latin typeface="Avenir Next LT Pro" panose="020B0504020202020204" pitchFamily="34" charset="0"/>
              </a:rPr>
              <a:t>Cette portion d’étage vise à favoriser le travail et de soutenir le besoin de tranquillité. </a:t>
            </a:r>
          </a:p>
          <a:p>
            <a:endParaRPr lang="fr-CA" dirty="0">
              <a:latin typeface="Avenir Next LT Pro" panose="020B0504020202020204" pitchFamily="34" charset="0"/>
            </a:endParaRPr>
          </a:p>
          <a:p>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1">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13" name="TextBox 113" descr="test sentence &#10;&#10;">
            <a:extLst>
              <a:ext uri="{FF2B5EF4-FFF2-40B4-BE49-F238E27FC236}">
                <a16:creationId xmlns:a16="http://schemas.microsoft.com/office/drawing/2014/main" id="{D0C12D73-8CDE-B900-CBD1-6FC806D83D2C}"/>
              </a:ext>
              <a:ext uri="{C183D7F6-B498-43B3-948B-1728B52AA6E4}">
                <adec:decorative xmlns:adec="http://schemas.microsoft.com/office/drawing/2017/decorative" val="0"/>
              </a:ext>
            </a:extLst>
          </p:cNvPr>
          <p:cNvSpPr txBox="1"/>
          <p:nvPr>
            <p:custDataLst>
              <p:tags r:id="rId5"/>
            </p:custDataLst>
          </p:nvPr>
        </p:nvSpPr>
        <p:spPr>
          <a:xfrm>
            <a:off x="7763056" y="1032004"/>
            <a:ext cx="1702157" cy="338554"/>
          </a:xfrm>
          <a:prstGeom prst="rect">
            <a:avLst/>
          </a:prstGeom>
          <a:noFill/>
        </p:spPr>
        <p:txBody>
          <a:bodyPr wrap="square" rtlCol="0">
            <a:spAutoFit/>
          </a:bodyPr>
          <a:lstStyle/>
          <a:p>
            <a:r>
              <a:rPr lang="fr-CA" sz="1600" b="1" dirty="0">
                <a:solidFill>
                  <a:schemeClr val="accent2"/>
                </a:solidFill>
                <a:latin typeface="Avenir Next LT Pro" panose="020B0504020202020204" pitchFamily="34" charset="0"/>
              </a:rPr>
              <a:t>Zone tranquille</a:t>
            </a:r>
          </a:p>
        </p:txBody>
      </p:sp>
      <p:pic>
        <p:nvPicPr>
          <p:cNvPr id="6" name="Picture 108" descr="exemple de zone tranquille">
            <a:extLst>
              <a:ext uri="{FF2B5EF4-FFF2-40B4-BE49-F238E27FC236}">
                <a16:creationId xmlns:a16="http://schemas.microsoft.com/office/drawing/2014/main" id="{185AE60D-63D0-0E73-0759-4A42E0272CBF}"/>
              </a:ext>
            </a:extLst>
          </p:cNvPr>
          <p:cNvPicPr>
            <a:picLocks noChangeAspect="1"/>
          </p:cNvPicPr>
          <p:nvPr>
            <p:custDataLst>
              <p:tags r:id="rId6"/>
            </p:custDataLst>
          </p:nvPr>
        </p:nvPicPr>
        <p:blipFill>
          <a:blip r:embed="rId12"/>
          <a:stretch>
            <a:fillRect/>
          </a:stretch>
        </p:blipFill>
        <p:spPr>
          <a:xfrm>
            <a:off x="6688714" y="1570175"/>
            <a:ext cx="3850842" cy="3850844"/>
          </a:xfrm>
          <a:prstGeom prst="rect">
            <a:avLst/>
          </a:prstGeom>
          <a:effectLst>
            <a:outerShdw blurRad="63500" sx="102000" sy="102000" algn="ctr" rotWithShape="0">
              <a:prstClr val="black">
                <a:alpha val="40000"/>
              </a:prstClr>
            </a:outerShdw>
          </a:effectLst>
        </p:spPr>
      </p:pic>
      <p:sp>
        <p:nvSpPr>
          <p:cNvPr id="12" name="Rectangle 11">
            <a:extLst>
              <a:ext uri="{FF2B5EF4-FFF2-40B4-BE49-F238E27FC236}">
                <a16:creationId xmlns:a16="http://schemas.microsoft.com/office/drawing/2014/main" id="{79E5A377-DAE4-753B-F5E9-24A86950F8FE}"/>
              </a:ext>
              <a:ext uri="{C183D7F6-B498-43B3-948B-1728B52AA6E4}">
                <adec:decorative xmlns:adec="http://schemas.microsoft.com/office/drawing/2017/decorative" val="1"/>
              </a:ext>
            </a:extLst>
          </p:cNvPr>
          <p:cNvSpPr/>
          <p:nvPr>
            <p:custDataLst>
              <p:tags r:id="rId7"/>
            </p:custDataLst>
          </p:nvPr>
        </p:nvSpPr>
        <p:spPr>
          <a:xfrm>
            <a:off x="6808206" y="1637403"/>
            <a:ext cx="3621386" cy="1078637"/>
          </a:xfrm>
          <a:prstGeom prst="rect">
            <a:avLst/>
          </a:prstGeom>
          <a:solidFill>
            <a:schemeClr val="accent2">
              <a:lumMod val="60000"/>
              <a:lumOff val="40000"/>
              <a:alpha val="3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CA" dirty="0">
              <a:latin typeface="Avenir Next LT Pro" panose="020B0504020202020204" pitchFamily="34" charset="0"/>
            </a:endParaRPr>
          </a:p>
        </p:txBody>
      </p:sp>
      <p:sp>
        <p:nvSpPr>
          <p:cNvPr id="7" name="Freeform: Shape 8">
            <a:extLst>
              <a:ext uri="{FF2B5EF4-FFF2-40B4-BE49-F238E27FC236}">
                <a16:creationId xmlns:a16="http://schemas.microsoft.com/office/drawing/2014/main" id="{CC2D8B5B-DD81-8C68-A503-6C536867FD7F}"/>
              </a:ext>
              <a:ext uri="{C183D7F6-B498-43B3-948B-1728B52AA6E4}">
                <adec:decorative xmlns:adec="http://schemas.microsoft.com/office/drawing/2017/decorative" val="1"/>
              </a:ext>
            </a:extLst>
          </p:cNvPr>
          <p:cNvSpPr/>
          <p:nvPr>
            <p:custDataLst>
              <p:tags r:id="rId8"/>
            </p:custDataLst>
          </p:nvPr>
        </p:nvSpPr>
        <p:spPr>
          <a:xfrm>
            <a:off x="7650073" y="2716040"/>
            <a:ext cx="1566355" cy="1036216"/>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19062482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oisinage</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320803" y="1488462"/>
            <a:ext cx="4199001" cy="3139321"/>
          </a:xfrm>
          <a:prstGeom prst="rect">
            <a:avLst/>
          </a:prstGeom>
          <a:noFill/>
        </p:spPr>
        <p:txBody>
          <a:bodyPr wrap="square" lIns="91440" tIns="45720" rIns="91440" bIns="45720" anchor="t">
            <a:spAutoFit/>
          </a:bodyPr>
          <a:lstStyle/>
          <a:p>
            <a:pPr marL="285750" indent="-285750">
              <a:buFont typeface="Arial" panose="020B0604020202020204" pitchFamily="34" charset="0"/>
              <a:buChar char="•"/>
            </a:pPr>
            <a:r>
              <a:rPr lang="fr-CA" dirty="0"/>
              <a:t>Les étages seront désignés à une ou plusieurs directions générales.</a:t>
            </a:r>
          </a:p>
          <a:p>
            <a:endParaRPr lang="fr-CA" dirty="0"/>
          </a:p>
          <a:p>
            <a:pPr marL="285750" indent="-285750">
              <a:buFont typeface="Arial" panose="020B0604020202020204" pitchFamily="34" charset="0"/>
              <a:buChar char="•"/>
            </a:pPr>
            <a:r>
              <a:rPr lang="fr-CA" dirty="0"/>
              <a:t>L’étage entier sera offert à tous – pas de portion d’étage ni de salles réservées à des équipes précises.</a:t>
            </a:r>
          </a:p>
          <a:p>
            <a:endParaRPr lang="fr-CA" dirty="0"/>
          </a:p>
          <a:p>
            <a:pPr marL="285750" indent="-285750">
              <a:buFont typeface="Arial" panose="020B0604020202020204" pitchFamily="34" charset="0"/>
              <a:buChar char="•"/>
            </a:pPr>
            <a:r>
              <a:rPr lang="fr-CA" dirty="0"/>
              <a:t>Il est permis de travailler à partir d’un autre voisinage que celui désigné, par exemple pour collaborer avec des collègues.</a:t>
            </a:r>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0">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oup 11" descr="An image of an office building with the recommended approach of floor by floor neighborhoods to the right, and a representation of the non recommended solution of micro-neighborhoods on the left. ">
            <a:extLst>
              <a:ext uri="{FF2B5EF4-FFF2-40B4-BE49-F238E27FC236}">
                <a16:creationId xmlns:a16="http://schemas.microsoft.com/office/drawing/2014/main" id="{416113E3-E9F4-0DEB-3045-FDE7ADC4CA45}"/>
              </a:ext>
            </a:extLst>
          </p:cNvPr>
          <p:cNvGrpSpPr/>
          <p:nvPr>
            <p:custDataLst>
              <p:tags r:id="rId5"/>
            </p:custDataLst>
          </p:nvPr>
        </p:nvGrpSpPr>
        <p:grpSpPr>
          <a:xfrm>
            <a:off x="5494119" y="1625112"/>
            <a:ext cx="5813478" cy="3826116"/>
            <a:chOff x="2578923" y="2219562"/>
            <a:chExt cx="5174431" cy="3826116"/>
          </a:xfrm>
        </p:grpSpPr>
        <p:grpSp>
          <p:nvGrpSpPr>
            <p:cNvPr id="77" name="Group 1088">
              <a:extLst>
                <a:ext uri="{FF2B5EF4-FFF2-40B4-BE49-F238E27FC236}">
                  <a16:creationId xmlns:a16="http://schemas.microsoft.com/office/drawing/2014/main" id="{CE4A8AA8-D80C-1133-5FA3-51E8E7EA7F99}"/>
                </a:ext>
              </a:extLst>
            </p:cNvPr>
            <p:cNvGrpSpPr/>
            <p:nvPr/>
          </p:nvGrpSpPr>
          <p:grpSpPr>
            <a:xfrm>
              <a:off x="2675399" y="2967838"/>
              <a:ext cx="3722979" cy="2657495"/>
              <a:chOff x="7329630" y="3624399"/>
              <a:chExt cx="3633390" cy="2593547"/>
            </a:xfrm>
          </p:grpSpPr>
          <p:sp>
            <p:nvSpPr>
              <p:cNvPr id="78" name="Freeform: Shape 13">
                <a:extLst>
                  <a:ext uri="{FF2B5EF4-FFF2-40B4-BE49-F238E27FC236}">
                    <a16:creationId xmlns:a16="http://schemas.microsoft.com/office/drawing/2014/main" id="{057E7B1D-D7C7-9460-3484-E41EF154A9B2}"/>
                  </a:ext>
                </a:extLst>
              </p:cNvPr>
              <p:cNvSpPr/>
              <p:nvPr/>
            </p:nvSpPr>
            <p:spPr>
              <a:xfrm flipH="1">
                <a:off x="7385144" y="5615770"/>
                <a:ext cx="3577876" cy="602176"/>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chemeClr val="accent5">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79" name="Freeform: Shape 15">
                <a:extLst>
                  <a:ext uri="{FF2B5EF4-FFF2-40B4-BE49-F238E27FC236}">
                    <a16:creationId xmlns:a16="http://schemas.microsoft.com/office/drawing/2014/main" id="{8FCD9700-1C2E-305F-C2D7-D1F22165A204}"/>
                  </a:ext>
                </a:extLst>
              </p:cNvPr>
              <p:cNvSpPr/>
              <p:nvPr/>
            </p:nvSpPr>
            <p:spPr>
              <a:xfrm rot="5400000" flipH="1">
                <a:off x="8623955" y="3272886"/>
                <a:ext cx="430038" cy="289131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0" name="Freeform: Shape 17">
                <a:extLst>
                  <a:ext uri="{FF2B5EF4-FFF2-40B4-BE49-F238E27FC236}">
                    <a16:creationId xmlns:a16="http://schemas.microsoft.com/office/drawing/2014/main" id="{AA9F00D5-1806-DACE-5D3E-92DD37C22826}"/>
                  </a:ext>
                </a:extLst>
              </p:cNvPr>
              <p:cNvSpPr/>
              <p:nvPr/>
            </p:nvSpPr>
            <p:spPr>
              <a:xfrm rot="4929086" flipH="1">
                <a:off x="8746398" y="3377076"/>
                <a:ext cx="704826" cy="3407138"/>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chemeClr val="accent1">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1" name="Freeform: Shape 18">
                <a:extLst>
                  <a:ext uri="{FF2B5EF4-FFF2-40B4-BE49-F238E27FC236}">
                    <a16:creationId xmlns:a16="http://schemas.microsoft.com/office/drawing/2014/main" id="{91B53DBD-4316-9F02-791B-A39F96719240}"/>
                  </a:ext>
                </a:extLst>
              </p:cNvPr>
              <p:cNvSpPr/>
              <p:nvPr/>
            </p:nvSpPr>
            <p:spPr>
              <a:xfrm rot="4425982" flipH="1">
                <a:off x="8415972" y="4004967"/>
                <a:ext cx="992587" cy="297489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chemeClr val="accent4">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2" name="Freeform: Shape 19">
                <a:extLst>
                  <a:ext uri="{FF2B5EF4-FFF2-40B4-BE49-F238E27FC236}">
                    <a16:creationId xmlns:a16="http://schemas.microsoft.com/office/drawing/2014/main" id="{6667D5C5-60C1-EF39-A34A-68A894525C14}"/>
                  </a:ext>
                </a:extLst>
              </p:cNvPr>
              <p:cNvSpPr/>
              <p:nvPr/>
            </p:nvSpPr>
            <p:spPr>
              <a:xfrm rot="5400000" flipH="1">
                <a:off x="8822856" y="2581116"/>
                <a:ext cx="430038" cy="3416489"/>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chemeClr val="accent2">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3" name="Freeform: Shape 20">
                <a:extLst>
                  <a:ext uri="{FF2B5EF4-FFF2-40B4-BE49-F238E27FC236}">
                    <a16:creationId xmlns:a16="http://schemas.microsoft.com/office/drawing/2014/main" id="{BD636ECB-7C44-CBB6-D835-F5EEC0FDB5E7}"/>
                  </a:ext>
                </a:extLst>
              </p:cNvPr>
              <p:cNvSpPr/>
              <p:nvPr/>
            </p:nvSpPr>
            <p:spPr>
              <a:xfrm flipH="1">
                <a:off x="7482073" y="3653422"/>
                <a:ext cx="2892198" cy="430038"/>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chemeClr val="accent3">
                  <a:lumMod val="20000"/>
                  <a:lumOff val="80000"/>
                  <a:alpha val="50000"/>
                </a:schemeClr>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fr-CA" dirty="0"/>
              </a:p>
            </p:txBody>
          </p:sp>
          <p:sp>
            <p:nvSpPr>
              <p:cNvPr id="84" name="TextBox 21">
                <a:extLst>
                  <a:ext uri="{FF2B5EF4-FFF2-40B4-BE49-F238E27FC236}">
                    <a16:creationId xmlns:a16="http://schemas.microsoft.com/office/drawing/2014/main" id="{2B0328CC-C16A-56CA-D000-EA18226D76E5}"/>
                  </a:ext>
                </a:extLst>
              </p:cNvPr>
              <p:cNvSpPr txBox="1"/>
              <p:nvPr/>
            </p:nvSpPr>
            <p:spPr>
              <a:xfrm>
                <a:off x="7695081" y="4154274"/>
                <a:ext cx="1821633" cy="232475"/>
              </a:xfrm>
              <a:prstGeom prst="rect">
                <a:avLst/>
              </a:prstGeom>
              <a:noFill/>
            </p:spPr>
            <p:txBody>
              <a:bodyPr wrap="square" rtlCol="0">
                <a:spAutoFit/>
              </a:bodyPr>
              <a:lstStyle/>
              <a:p>
                <a:pPr lvl="0" algn="ctr">
                  <a:lnSpc>
                    <a:spcPts val="1100"/>
                  </a:lnSpc>
                  <a:defRPr/>
                </a:pPr>
                <a:r>
                  <a:rPr lang="fr-CA" sz="1200" dirty="0">
                    <a:latin typeface="Calibri"/>
                  </a:rPr>
                  <a:t>Directions générales B et C</a:t>
                </a:r>
                <a:endParaRPr kumimoji="0" lang="fr-CA" sz="1200" i="0" u="none" strike="noStrike" kern="1200" cap="none" spc="0" normalizeH="0" baseline="0" noProof="0" dirty="0">
                  <a:ln>
                    <a:noFill/>
                  </a:ln>
                  <a:effectLst/>
                  <a:uLnTx/>
                  <a:uFillTx/>
                  <a:latin typeface="Calibri"/>
                </a:endParaRPr>
              </a:p>
            </p:txBody>
          </p:sp>
          <p:sp>
            <p:nvSpPr>
              <p:cNvPr id="85" name="TextBox 22">
                <a:extLst>
                  <a:ext uri="{FF2B5EF4-FFF2-40B4-BE49-F238E27FC236}">
                    <a16:creationId xmlns:a16="http://schemas.microsoft.com/office/drawing/2014/main" id="{5BF43345-89A2-8BD1-AAB5-685CC2838D7D}"/>
                  </a:ext>
                </a:extLst>
              </p:cNvPr>
              <p:cNvSpPr txBox="1"/>
              <p:nvPr/>
            </p:nvSpPr>
            <p:spPr>
              <a:xfrm>
                <a:off x="7383089" y="4582602"/>
                <a:ext cx="2490508"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dirty="0">
                    <a:ln>
                      <a:noFill/>
                    </a:ln>
                    <a:effectLst/>
                    <a:uLnTx/>
                    <a:uFillTx/>
                    <a:latin typeface="Calibri"/>
                  </a:rPr>
                  <a:t>Direction générale D</a:t>
                </a:r>
              </a:p>
            </p:txBody>
          </p:sp>
          <p:sp>
            <p:nvSpPr>
              <p:cNvPr id="86" name="TextBox 24">
                <a:extLst>
                  <a:ext uri="{FF2B5EF4-FFF2-40B4-BE49-F238E27FC236}">
                    <a16:creationId xmlns:a16="http://schemas.microsoft.com/office/drawing/2014/main" id="{36F3A7BC-2D1A-741B-822A-079CEF79C39F}"/>
                  </a:ext>
                </a:extLst>
              </p:cNvPr>
              <p:cNvSpPr txBox="1"/>
              <p:nvPr/>
            </p:nvSpPr>
            <p:spPr>
              <a:xfrm>
                <a:off x="7818034" y="3624399"/>
                <a:ext cx="1637002" cy="370708"/>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lang="fr-CA" sz="1200" b="1" dirty="0">
                    <a:solidFill>
                      <a:schemeClr val="accent3"/>
                    </a:solidFill>
                    <a:latin typeface="Calibri"/>
                  </a:rPr>
                  <a:t> </a:t>
                </a:r>
              </a:p>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dirty="0">
                    <a:ln>
                      <a:noFill/>
                    </a:ln>
                    <a:solidFill>
                      <a:srgbClr val="000000"/>
                    </a:solidFill>
                    <a:effectLst/>
                    <a:uLnTx/>
                    <a:uFillTx/>
                    <a:latin typeface="Calibri"/>
                  </a:rPr>
                  <a:t>Direction générale A</a:t>
                </a:r>
              </a:p>
            </p:txBody>
          </p:sp>
          <p:sp>
            <p:nvSpPr>
              <p:cNvPr id="87" name="TextBox 25">
                <a:extLst>
                  <a:ext uri="{FF2B5EF4-FFF2-40B4-BE49-F238E27FC236}">
                    <a16:creationId xmlns:a16="http://schemas.microsoft.com/office/drawing/2014/main" id="{A98FC754-5F9D-A6AB-8070-6E366FA59DE0}"/>
                  </a:ext>
                </a:extLst>
              </p:cNvPr>
              <p:cNvSpPr txBox="1"/>
              <p:nvPr/>
            </p:nvSpPr>
            <p:spPr>
              <a:xfrm>
                <a:off x="7687777" y="5026239"/>
                <a:ext cx="1921604" cy="230535"/>
              </a:xfrm>
              <a:prstGeom prst="rect">
                <a:avLst/>
              </a:prstGeom>
              <a:noFill/>
            </p:spPr>
            <p:txBody>
              <a:bodyPr wrap="square" rtlCol="0">
                <a:spAutoFit/>
              </a:bodyPr>
              <a:lstStyle/>
              <a:p>
                <a:pPr lvl="0" algn="ctr">
                  <a:lnSpc>
                    <a:spcPts val="1100"/>
                  </a:lnSpc>
                  <a:defRPr/>
                </a:pPr>
                <a:r>
                  <a:rPr lang="fr-CA" sz="1200" dirty="0">
                    <a:solidFill>
                      <a:srgbClr val="000000"/>
                    </a:solidFill>
                  </a:rPr>
                  <a:t>Directions E et F</a:t>
                </a:r>
              </a:p>
            </p:txBody>
          </p:sp>
          <p:sp>
            <p:nvSpPr>
              <p:cNvPr id="88" name="TextBox 26">
                <a:extLst>
                  <a:ext uri="{FF2B5EF4-FFF2-40B4-BE49-F238E27FC236}">
                    <a16:creationId xmlns:a16="http://schemas.microsoft.com/office/drawing/2014/main" id="{A6684F48-A2FE-496D-6BD2-6AF0B6FF503C}"/>
                  </a:ext>
                </a:extLst>
              </p:cNvPr>
              <p:cNvSpPr txBox="1"/>
              <p:nvPr/>
            </p:nvSpPr>
            <p:spPr>
              <a:xfrm>
                <a:off x="7734813" y="5456853"/>
                <a:ext cx="1839615"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i="0" u="none" strike="noStrike" kern="1200" cap="none" spc="0" normalizeH="0" baseline="0" noProof="0">
                    <a:ln>
                      <a:noFill/>
                    </a:ln>
                    <a:effectLst/>
                    <a:uLnTx/>
                    <a:uFillTx/>
                    <a:latin typeface="Calibri"/>
                  </a:rPr>
                  <a:t>Direction générale </a:t>
                </a:r>
                <a:r>
                  <a:rPr kumimoji="0" lang="fr-CA" sz="1200" i="0" u="none" strike="noStrike" kern="1200" cap="none" spc="0" normalizeH="0" baseline="0" noProof="0" dirty="0">
                    <a:ln>
                      <a:noFill/>
                    </a:ln>
                    <a:effectLst/>
                    <a:uLnTx/>
                    <a:uFillTx/>
                    <a:latin typeface="Calibri"/>
                  </a:rPr>
                  <a:t>G</a:t>
                </a:r>
              </a:p>
            </p:txBody>
          </p:sp>
          <p:sp>
            <p:nvSpPr>
              <p:cNvPr id="89" name="TextBox 27">
                <a:extLst>
                  <a:ext uri="{FF2B5EF4-FFF2-40B4-BE49-F238E27FC236}">
                    <a16:creationId xmlns:a16="http://schemas.microsoft.com/office/drawing/2014/main" id="{CF1A0002-EC31-0B3E-FF8A-584706C6E1CD}"/>
                  </a:ext>
                </a:extLst>
              </p:cNvPr>
              <p:cNvSpPr txBox="1"/>
              <p:nvPr/>
            </p:nvSpPr>
            <p:spPr>
              <a:xfrm>
                <a:off x="7444094" y="5867729"/>
                <a:ext cx="2391720" cy="233037"/>
              </a:xfrm>
              <a:prstGeom prst="rect">
                <a:avLst/>
              </a:prstGeom>
              <a:noFill/>
            </p:spPr>
            <p:txBody>
              <a:bodyPr wrap="square" rtlCol="0">
                <a:spAutoFit/>
              </a:bodyPr>
              <a:lstStyle/>
              <a:p>
                <a:pPr marL="0" marR="0" lvl="0" indent="0" algn="ctr" defTabSz="914400" rtl="0" eaLnBrk="1" fontAlgn="auto" latinLnBrk="0" hangingPunct="1">
                  <a:lnSpc>
                    <a:spcPts val="1100"/>
                  </a:lnSpc>
                  <a:buClrTx/>
                  <a:buSzTx/>
                  <a:buFontTx/>
                  <a:buNone/>
                  <a:tabLst/>
                  <a:defRPr/>
                </a:pPr>
                <a:r>
                  <a:rPr kumimoji="0" lang="fr-CA" sz="1200" b="1" i="0" u="none" strike="noStrike" kern="1200" cap="none" spc="0" normalizeH="0" baseline="0" noProof="0" dirty="0">
                    <a:ln>
                      <a:noFill/>
                    </a:ln>
                    <a:effectLst/>
                    <a:uLnTx/>
                    <a:uFillTx/>
                    <a:latin typeface="Calibri"/>
                  </a:rPr>
                  <a:t>Espace ouvert à tous </a:t>
                </a:r>
                <a:endParaRPr kumimoji="0" lang="fr-CA" sz="1200" i="0" u="none" strike="noStrike" kern="1200" cap="none" spc="0" normalizeH="0" baseline="0" noProof="0" dirty="0">
                  <a:ln>
                    <a:noFill/>
                  </a:ln>
                  <a:effectLst/>
                  <a:uLnTx/>
                  <a:uFillTx/>
                  <a:latin typeface="Calibri"/>
                </a:endParaRPr>
              </a:p>
            </p:txBody>
          </p:sp>
        </p:grpSp>
        <p:grpSp>
          <p:nvGrpSpPr>
            <p:cNvPr id="10" name="Google Shape;1309;p104">
              <a:extLst>
                <a:ext uri="{FF2B5EF4-FFF2-40B4-BE49-F238E27FC236}">
                  <a16:creationId xmlns:a16="http://schemas.microsoft.com/office/drawing/2014/main" id="{79080D31-DF36-CE33-848A-51E4A0F01CF4}"/>
                </a:ext>
              </a:extLst>
            </p:cNvPr>
            <p:cNvGrpSpPr/>
            <p:nvPr>
              <p:custDataLst>
                <p:tags r:id="rId6"/>
              </p:custDataLst>
            </p:nvPr>
          </p:nvGrpSpPr>
          <p:grpSpPr>
            <a:xfrm>
              <a:off x="5500989" y="3210565"/>
              <a:ext cx="2252365" cy="2835113"/>
              <a:chOff x="7398008" y="2595759"/>
              <a:chExt cx="1855558" cy="2456631"/>
            </a:xfrm>
          </p:grpSpPr>
          <p:grpSp>
            <p:nvGrpSpPr>
              <p:cNvPr id="17" name="Google Shape;1310;p104">
                <a:extLst>
                  <a:ext uri="{FF2B5EF4-FFF2-40B4-BE49-F238E27FC236}">
                    <a16:creationId xmlns:a16="http://schemas.microsoft.com/office/drawing/2014/main" id="{50A9A730-E35F-EC06-84BD-411425130433}"/>
                  </a:ext>
                </a:extLst>
              </p:cNvPr>
              <p:cNvGrpSpPr/>
              <p:nvPr/>
            </p:nvGrpSpPr>
            <p:grpSpPr>
              <a:xfrm>
                <a:off x="7398008" y="2595759"/>
                <a:ext cx="1855558" cy="2456631"/>
                <a:chOff x="7397720" y="2595653"/>
                <a:chExt cx="2169990" cy="2872916"/>
              </a:xfrm>
            </p:grpSpPr>
            <p:grpSp>
              <p:nvGrpSpPr>
                <p:cNvPr id="19" name="Google Shape;1311;p104">
                  <a:extLst>
                    <a:ext uri="{FF2B5EF4-FFF2-40B4-BE49-F238E27FC236}">
                      <a16:creationId xmlns:a16="http://schemas.microsoft.com/office/drawing/2014/main" id="{43713B3D-D1AA-EA68-2BA8-6F6E9711A69A}"/>
                    </a:ext>
                  </a:extLst>
                </p:cNvPr>
                <p:cNvGrpSpPr/>
                <p:nvPr/>
              </p:nvGrpSpPr>
              <p:grpSpPr>
                <a:xfrm>
                  <a:off x="7397720" y="2595653"/>
                  <a:ext cx="2169990" cy="2872916"/>
                  <a:chOff x="3782854" y="2244933"/>
                  <a:chExt cx="2700000" cy="3574612"/>
                </a:xfrm>
              </p:grpSpPr>
              <p:sp>
                <p:nvSpPr>
                  <p:cNvPr id="25" name="Google Shape;1312;p104">
                    <a:extLst>
                      <a:ext uri="{FF2B5EF4-FFF2-40B4-BE49-F238E27FC236}">
                        <a16:creationId xmlns:a16="http://schemas.microsoft.com/office/drawing/2014/main" id="{5079FE47-599C-A134-BD23-C4276CD45296}"/>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6" name="Google Shape;1313;p104">
                    <a:extLst>
                      <a:ext uri="{FF2B5EF4-FFF2-40B4-BE49-F238E27FC236}">
                        <a16:creationId xmlns:a16="http://schemas.microsoft.com/office/drawing/2014/main" id="{2D8DBA23-B5AA-7C7E-5352-85936063FD9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7" name="Google Shape;1314;p104">
                    <a:extLst>
                      <a:ext uri="{FF2B5EF4-FFF2-40B4-BE49-F238E27FC236}">
                        <a16:creationId xmlns:a16="http://schemas.microsoft.com/office/drawing/2014/main" id="{3E44F633-6A18-C683-ECF0-C9ADF10A6E19}"/>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8" name="Google Shape;1315;p104">
                    <a:extLst>
                      <a:ext uri="{FF2B5EF4-FFF2-40B4-BE49-F238E27FC236}">
                        <a16:creationId xmlns:a16="http://schemas.microsoft.com/office/drawing/2014/main" id="{121E2F39-5F17-5BE0-0611-09179169AC61}"/>
                      </a:ext>
                    </a:extLst>
                  </p:cNvPr>
                  <p:cNvSpPr/>
                  <p:nvPr/>
                </p:nvSpPr>
                <p:spPr>
                  <a:xfrm>
                    <a:off x="4408827"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9" name="Google Shape;1316;p104">
                    <a:extLst>
                      <a:ext uri="{FF2B5EF4-FFF2-40B4-BE49-F238E27FC236}">
                        <a16:creationId xmlns:a16="http://schemas.microsoft.com/office/drawing/2014/main" id="{12C3754B-981F-6B16-F1BE-8BB0D99D64AF}"/>
                      </a:ext>
                    </a:extLst>
                  </p:cNvPr>
                  <p:cNvSpPr/>
                  <p:nvPr/>
                </p:nvSpPr>
                <p:spPr>
                  <a:xfrm>
                    <a:off x="4716593"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0" name="Google Shape;1317;p104">
                    <a:extLst>
                      <a:ext uri="{FF2B5EF4-FFF2-40B4-BE49-F238E27FC236}">
                        <a16:creationId xmlns:a16="http://schemas.microsoft.com/office/drawing/2014/main" id="{A771D895-B308-1CD3-1977-394DE6E698B4}"/>
                      </a:ext>
                    </a:extLst>
                  </p:cNvPr>
                  <p:cNvSpPr/>
                  <p:nvPr/>
                </p:nvSpPr>
                <p:spPr>
                  <a:xfrm>
                    <a:off x="5024359"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1" name="Google Shape;1318;p104">
                    <a:extLst>
                      <a:ext uri="{FF2B5EF4-FFF2-40B4-BE49-F238E27FC236}">
                        <a16:creationId xmlns:a16="http://schemas.microsoft.com/office/drawing/2014/main" id="{FF523CDD-A188-0AF8-9753-BA8B4EDA9277}"/>
                      </a:ext>
                    </a:extLst>
                  </p:cNvPr>
                  <p:cNvSpPr/>
                  <p:nvPr/>
                </p:nvSpPr>
                <p:spPr>
                  <a:xfrm>
                    <a:off x="5332125"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2" name="Google Shape;1304;p104">
                    <a:extLst>
                      <a:ext uri="{FF2B5EF4-FFF2-40B4-BE49-F238E27FC236}">
                        <a16:creationId xmlns:a16="http://schemas.microsoft.com/office/drawing/2014/main" id="{EFA1AC29-92D2-20E7-13DC-4F7BBD377B89}"/>
                      </a:ext>
                    </a:extLst>
                  </p:cNvPr>
                  <p:cNvSpPr/>
                  <p:nvPr/>
                </p:nvSpPr>
                <p:spPr>
                  <a:xfrm>
                    <a:off x="5639891" y="2517271"/>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3" name="Google Shape;1319;p104">
                    <a:extLst>
                      <a:ext uri="{FF2B5EF4-FFF2-40B4-BE49-F238E27FC236}">
                        <a16:creationId xmlns:a16="http://schemas.microsoft.com/office/drawing/2014/main" id="{17708D04-DFD1-3AA8-5438-2ABED82E0784}"/>
                      </a:ext>
                    </a:extLst>
                  </p:cNvPr>
                  <p:cNvSpPr/>
                  <p:nvPr/>
                </p:nvSpPr>
                <p:spPr>
                  <a:xfrm>
                    <a:off x="4408827"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4" name="Google Shape;1320;p104">
                    <a:extLst>
                      <a:ext uri="{FF2B5EF4-FFF2-40B4-BE49-F238E27FC236}">
                        <a16:creationId xmlns:a16="http://schemas.microsoft.com/office/drawing/2014/main" id="{5D52573B-7A52-96DF-FE8D-BDAF691182CA}"/>
                      </a:ext>
                    </a:extLst>
                  </p:cNvPr>
                  <p:cNvSpPr/>
                  <p:nvPr/>
                </p:nvSpPr>
                <p:spPr>
                  <a:xfrm>
                    <a:off x="4716593" y="2898722"/>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5" name="Google Shape;1321;p104">
                    <a:extLst>
                      <a:ext uri="{FF2B5EF4-FFF2-40B4-BE49-F238E27FC236}">
                        <a16:creationId xmlns:a16="http://schemas.microsoft.com/office/drawing/2014/main" id="{CF0739C7-09B9-EB4C-D223-070BF1267B17}"/>
                      </a:ext>
                    </a:extLst>
                  </p:cNvPr>
                  <p:cNvSpPr/>
                  <p:nvPr/>
                </p:nvSpPr>
                <p:spPr>
                  <a:xfrm>
                    <a:off x="5024358"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6" name="Google Shape;1322;p104">
                    <a:extLst>
                      <a:ext uri="{FF2B5EF4-FFF2-40B4-BE49-F238E27FC236}">
                        <a16:creationId xmlns:a16="http://schemas.microsoft.com/office/drawing/2014/main" id="{1EBFC678-0DB9-A4EB-AF0F-2895CB3F2C1E}"/>
                      </a:ext>
                    </a:extLst>
                  </p:cNvPr>
                  <p:cNvSpPr/>
                  <p:nvPr/>
                </p:nvSpPr>
                <p:spPr>
                  <a:xfrm>
                    <a:off x="5332124"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7" name="Google Shape;1297;p104">
                    <a:extLst>
                      <a:ext uri="{FF2B5EF4-FFF2-40B4-BE49-F238E27FC236}">
                        <a16:creationId xmlns:a16="http://schemas.microsoft.com/office/drawing/2014/main" id="{7E3B3FA9-E209-8C5B-B9BF-1CBC00206948}"/>
                      </a:ext>
                    </a:extLst>
                  </p:cNvPr>
                  <p:cNvSpPr/>
                  <p:nvPr/>
                </p:nvSpPr>
                <p:spPr>
                  <a:xfrm>
                    <a:off x="5639890" y="2898723"/>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8" name="Google Shape;1323;p104">
                    <a:extLst>
                      <a:ext uri="{FF2B5EF4-FFF2-40B4-BE49-F238E27FC236}">
                        <a16:creationId xmlns:a16="http://schemas.microsoft.com/office/drawing/2014/main" id="{B6507E11-EC29-4E46-39AD-4BB6E38FB301}"/>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39" name="Google Shape;1324;p104">
                    <a:extLst>
                      <a:ext uri="{FF2B5EF4-FFF2-40B4-BE49-F238E27FC236}">
                        <a16:creationId xmlns:a16="http://schemas.microsoft.com/office/drawing/2014/main" id="{C7469CDD-D524-16E5-551D-01955F32196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0" name="Google Shape;1325;p104">
                    <a:extLst>
                      <a:ext uri="{FF2B5EF4-FFF2-40B4-BE49-F238E27FC236}">
                        <a16:creationId xmlns:a16="http://schemas.microsoft.com/office/drawing/2014/main" id="{F7C5741F-5578-1AF1-4851-0A486B3F686F}"/>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1" name="Google Shape;1326;p104">
                    <a:extLst>
                      <a:ext uri="{FF2B5EF4-FFF2-40B4-BE49-F238E27FC236}">
                        <a16:creationId xmlns:a16="http://schemas.microsoft.com/office/drawing/2014/main" id="{CC7386CC-0505-DBCC-AF06-AFA69ED717C9}"/>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2" name="Google Shape;1327;p104">
                    <a:extLst>
                      <a:ext uri="{FF2B5EF4-FFF2-40B4-BE49-F238E27FC236}">
                        <a16:creationId xmlns:a16="http://schemas.microsoft.com/office/drawing/2014/main" id="{BE4A57EE-E044-A301-EF2C-BED0F57FA70A}"/>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3" name="Google Shape;1328;p104">
                    <a:extLst>
                      <a:ext uri="{FF2B5EF4-FFF2-40B4-BE49-F238E27FC236}">
                        <a16:creationId xmlns:a16="http://schemas.microsoft.com/office/drawing/2014/main" id="{3F3E4707-9FC5-99ED-5D71-20C2D5994A81}"/>
                      </a:ext>
                    </a:extLst>
                  </p:cNvPr>
                  <p:cNvSpPr/>
                  <p:nvPr/>
                </p:nvSpPr>
                <p:spPr>
                  <a:xfrm>
                    <a:off x="4421383"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4" name="Google Shape;1329;p104">
                    <a:extLst>
                      <a:ext uri="{FF2B5EF4-FFF2-40B4-BE49-F238E27FC236}">
                        <a16:creationId xmlns:a16="http://schemas.microsoft.com/office/drawing/2014/main" id="{9A8EA917-3A44-7139-87AD-F9EC0728A680}"/>
                      </a:ext>
                    </a:extLst>
                  </p:cNvPr>
                  <p:cNvSpPr/>
                  <p:nvPr/>
                </p:nvSpPr>
                <p:spPr>
                  <a:xfrm>
                    <a:off x="4729149" y="3653839"/>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5" name="Google Shape;1330;p104">
                    <a:extLst>
                      <a:ext uri="{FF2B5EF4-FFF2-40B4-BE49-F238E27FC236}">
                        <a16:creationId xmlns:a16="http://schemas.microsoft.com/office/drawing/2014/main" id="{FFC0B55C-39BF-5CAE-ED00-CF1AAB1A0E5C}"/>
                      </a:ext>
                    </a:extLst>
                  </p:cNvPr>
                  <p:cNvSpPr/>
                  <p:nvPr/>
                </p:nvSpPr>
                <p:spPr>
                  <a:xfrm>
                    <a:off x="5036914"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6" name="Google Shape;1331;p104">
                    <a:extLst>
                      <a:ext uri="{FF2B5EF4-FFF2-40B4-BE49-F238E27FC236}">
                        <a16:creationId xmlns:a16="http://schemas.microsoft.com/office/drawing/2014/main" id="{5DD1DF85-5880-3DBC-D19F-84A8C181A8D1}"/>
                      </a:ext>
                    </a:extLst>
                  </p:cNvPr>
                  <p:cNvSpPr/>
                  <p:nvPr/>
                </p:nvSpPr>
                <p:spPr>
                  <a:xfrm>
                    <a:off x="5344680"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7" name="Google Shape;1332;p104">
                    <a:extLst>
                      <a:ext uri="{FF2B5EF4-FFF2-40B4-BE49-F238E27FC236}">
                        <a16:creationId xmlns:a16="http://schemas.microsoft.com/office/drawing/2014/main" id="{88299F6F-8805-751B-ADEE-BF0CD75A6124}"/>
                      </a:ext>
                    </a:extLst>
                  </p:cNvPr>
                  <p:cNvSpPr/>
                  <p:nvPr/>
                </p:nvSpPr>
                <p:spPr>
                  <a:xfrm>
                    <a:off x="5652446" y="3653840"/>
                    <a:ext cx="216900" cy="216900"/>
                  </a:xfrm>
                  <a:prstGeom prst="roundRect">
                    <a:avLst>
                      <a:gd name="adj" fmla="val 16667"/>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8" name="Google Shape;1333;p104">
                    <a:extLst>
                      <a:ext uri="{FF2B5EF4-FFF2-40B4-BE49-F238E27FC236}">
                        <a16:creationId xmlns:a16="http://schemas.microsoft.com/office/drawing/2014/main" id="{CF64522E-403A-03F8-6A2C-40ED44B5E3A5}"/>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49" name="Google Shape;1334;p104">
                    <a:extLst>
                      <a:ext uri="{FF2B5EF4-FFF2-40B4-BE49-F238E27FC236}">
                        <a16:creationId xmlns:a16="http://schemas.microsoft.com/office/drawing/2014/main" id="{91069B41-4C43-24DB-A809-E7DFB1ED4D14}"/>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0" name="Google Shape;1335;p104">
                    <a:extLst>
                      <a:ext uri="{FF2B5EF4-FFF2-40B4-BE49-F238E27FC236}">
                        <a16:creationId xmlns:a16="http://schemas.microsoft.com/office/drawing/2014/main" id="{8B8149E1-0BA5-501B-D6DA-82553AFC8016}"/>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1" name="Google Shape;1336;p104">
                    <a:extLst>
                      <a:ext uri="{FF2B5EF4-FFF2-40B4-BE49-F238E27FC236}">
                        <a16:creationId xmlns:a16="http://schemas.microsoft.com/office/drawing/2014/main" id="{2C429B3A-B535-189D-44AB-C000227A8D66}"/>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2" name="Google Shape;1337;p104">
                    <a:extLst>
                      <a:ext uri="{FF2B5EF4-FFF2-40B4-BE49-F238E27FC236}">
                        <a16:creationId xmlns:a16="http://schemas.microsoft.com/office/drawing/2014/main" id="{03EAD489-B340-22F1-3DE1-27FC20B4E430}"/>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3" name="Google Shape;1338;p104">
                    <a:extLst>
                      <a:ext uri="{FF2B5EF4-FFF2-40B4-BE49-F238E27FC236}">
                        <a16:creationId xmlns:a16="http://schemas.microsoft.com/office/drawing/2014/main" id="{BC7BDEC7-21A8-687C-5FF8-DE2D5E7D5C21}"/>
                      </a:ext>
                    </a:extLst>
                  </p:cNvPr>
                  <p:cNvSpPr/>
                  <p:nvPr/>
                </p:nvSpPr>
                <p:spPr>
                  <a:xfrm>
                    <a:off x="4421382" y="4406686"/>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4" name="Google Shape;1339;p104">
                    <a:extLst>
                      <a:ext uri="{FF2B5EF4-FFF2-40B4-BE49-F238E27FC236}">
                        <a16:creationId xmlns:a16="http://schemas.microsoft.com/office/drawing/2014/main" id="{E5A8D4AB-7BB9-2ADB-170D-5AE12AE11CB3}"/>
                      </a:ext>
                    </a:extLst>
                  </p:cNvPr>
                  <p:cNvSpPr/>
                  <p:nvPr/>
                </p:nvSpPr>
                <p:spPr>
                  <a:xfrm>
                    <a:off x="4729149"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5" name="Google Shape;1340;p104">
                    <a:extLst>
                      <a:ext uri="{FF2B5EF4-FFF2-40B4-BE49-F238E27FC236}">
                        <a16:creationId xmlns:a16="http://schemas.microsoft.com/office/drawing/2014/main" id="{DC8FA3CD-28D1-49A1-BC5D-FFAD3A62B81B}"/>
                      </a:ext>
                    </a:extLst>
                  </p:cNvPr>
                  <p:cNvSpPr/>
                  <p:nvPr/>
                </p:nvSpPr>
                <p:spPr>
                  <a:xfrm>
                    <a:off x="5036915"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6" name="Google Shape;1341;p104">
                    <a:extLst>
                      <a:ext uri="{FF2B5EF4-FFF2-40B4-BE49-F238E27FC236}">
                        <a16:creationId xmlns:a16="http://schemas.microsoft.com/office/drawing/2014/main" id="{9F4FB8C1-A356-D30E-93D3-683F071FCBE9}"/>
                      </a:ext>
                    </a:extLst>
                  </p:cNvPr>
                  <p:cNvSpPr/>
                  <p:nvPr/>
                </p:nvSpPr>
                <p:spPr>
                  <a:xfrm>
                    <a:off x="5344681"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7" name="Google Shape;1342;p104">
                    <a:extLst>
                      <a:ext uri="{FF2B5EF4-FFF2-40B4-BE49-F238E27FC236}">
                        <a16:creationId xmlns:a16="http://schemas.microsoft.com/office/drawing/2014/main" id="{C59489DA-E253-C358-8ABF-D485D1356380}"/>
                      </a:ext>
                    </a:extLst>
                  </p:cNvPr>
                  <p:cNvSpPr/>
                  <p:nvPr/>
                </p:nvSpPr>
                <p:spPr>
                  <a:xfrm>
                    <a:off x="5652447" y="4406687"/>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8" name="Google Shape;1343;p104">
                    <a:extLst>
                      <a:ext uri="{FF2B5EF4-FFF2-40B4-BE49-F238E27FC236}">
                        <a16:creationId xmlns:a16="http://schemas.microsoft.com/office/drawing/2014/main" id="{4BE8A6E3-909C-1ED0-D24B-1794F09C4ECC}"/>
                      </a:ext>
                    </a:extLst>
                  </p:cNvPr>
                  <p:cNvSpPr/>
                  <p:nvPr/>
                </p:nvSpPr>
                <p:spPr>
                  <a:xfrm>
                    <a:off x="4422629"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59" name="Google Shape;1344;p104">
                    <a:extLst>
                      <a:ext uri="{FF2B5EF4-FFF2-40B4-BE49-F238E27FC236}">
                        <a16:creationId xmlns:a16="http://schemas.microsoft.com/office/drawing/2014/main" id="{160101F8-D1B5-7A9F-DDE2-14BD9EBC1567}"/>
                      </a:ext>
                    </a:extLst>
                  </p:cNvPr>
                  <p:cNvSpPr/>
                  <p:nvPr/>
                </p:nvSpPr>
                <p:spPr>
                  <a:xfrm>
                    <a:off x="4730395"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0" name="Google Shape;1345;p104">
                    <a:extLst>
                      <a:ext uri="{FF2B5EF4-FFF2-40B4-BE49-F238E27FC236}">
                        <a16:creationId xmlns:a16="http://schemas.microsoft.com/office/drawing/2014/main" id="{A4C07864-39AF-05FD-0931-D0AB139277AE}"/>
                      </a:ext>
                    </a:extLst>
                  </p:cNvPr>
                  <p:cNvSpPr/>
                  <p:nvPr/>
                </p:nvSpPr>
                <p:spPr>
                  <a:xfrm>
                    <a:off x="5038161"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1" name="Google Shape;1346;p104">
                    <a:extLst>
                      <a:ext uri="{FF2B5EF4-FFF2-40B4-BE49-F238E27FC236}">
                        <a16:creationId xmlns:a16="http://schemas.microsoft.com/office/drawing/2014/main" id="{30BF5EA7-5212-3614-E451-F9F88930001B}"/>
                      </a:ext>
                    </a:extLst>
                  </p:cNvPr>
                  <p:cNvSpPr/>
                  <p:nvPr/>
                </p:nvSpPr>
                <p:spPr>
                  <a:xfrm>
                    <a:off x="5345927"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2" name="Google Shape;1347;p104">
                    <a:extLst>
                      <a:ext uri="{FF2B5EF4-FFF2-40B4-BE49-F238E27FC236}">
                        <a16:creationId xmlns:a16="http://schemas.microsoft.com/office/drawing/2014/main" id="{5A4AC6CC-0A70-0090-5EE6-5194EA0EF4BE}"/>
                      </a:ext>
                    </a:extLst>
                  </p:cNvPr>
                  <p:cNvSpPr/>
                  <p:nvPr/>
                </p:nvSpPr>
                <p:spPr>
                  <a:xfrm>
                    <a:off x="5653693" y="4768323"/>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3" name="Google Shape;1348;p104">
                    <a:extLst>
                      <a:ext uri="{FF2B5EF4-FFF2-40B4-BE49-F238E27FC236}">
                        <a16:creationId xmlns:a16="http://schemas.microsoft.com/office/drawing/2014/main" id="{9EF6C6AC-EACC-775A-A522-D3F0B539A731}"/>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4" name="Google Shape;1349;p104">
                    <a:extLst>
                      <a:ext uri="{FF2B5EF4-FFF2-40B4-BE49-F238E27FC236}">
                        <a16:creationId xmlns:a16="http://schemas.microsoft.com/office/drawing/2014/main" id="{753D1356-E641-08F0-A7BF-D43488B0F670}"/>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65" name="Google Shape;1350;p104">
                    <a:extLst>
                      <a:ext uri="{FF2B5EF4-FFF2-40B4-BE49-F238E27FC236}">
                        <a16:creationId xmlns:a16="http://schemas.microsoft.com/office/drawing/2014/main" id="{FC5202A0-3821-48D2-A1FE-93D546BB1D4C}"/>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sp>
              <p:nvSpPr>
                <p:cNvPr id="20" name="Google Shape;1351;p104">
                  <a:extLst>
                    <a:ext uri="{FF2B5EF4-FFF2-40B4-BE49-F238E27FC236}">
                      <a16:creationId xmlns:a16="http://schemas.microsoft.com/office/drawing/2014/main" id="{9ACC593A-9919-1799-8ABB-A64A666F9F26}"/>
                    </a:ext>
                  </a:extLst>
                </p:cNvPr>
                <p:cNvSpPr/>
                <p:nvPr/>
              </p:nvSpPr>
              <p:spPr>
                <a:xfrm>
                  <a:off x="9379551"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1" name="Google Shape;1352;p104">
                  <a:extLst>
                    <a:ext uri="{FF2B5EF4-FFF2-40B4-BE49-F238E27FC236}">
                      <a16:creationId xmlns:a16="http://schemas.microsoft.com/office/drawing/2014/main" id="{E3C94D93-CA24-69BA-42B5-5D6F6FBA9C87}"/>
                    </a:ext>
                  </a:extLst>
                </p:cNvPr>
                <p:cNvSpPr/>
                <p:nvPr/>
              </p:nvSpPr>
              <p:spPr>
                <a:xfrm>
                  <a:off x="9309824"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nvGrpSpPr>
                <p:cNvPr id="22" name="Google Shape;1353;p104">
                  <a:extLst>
                    <a:ext uri="{FF2B5EF4-FFF2-40B4-BE49-F238E27FC236}">
                      <a16:creationId xmlns:a16="http://schemas.microsoft.com/office/drawing/2014/main" id="{0AB390BF-7008-068F-6AE5-832A8CF4B9AE}"/>
                    </a:ext>
                  </a:extLst>
                </p:cNvPr>
                <p:cNvGrpSpPr/>
                <p:nvPr/>
              </p:nvGrpSpPr>
              <p:grpSpPr>
                <a:xfrm>
                  <a:off x="9098030" y="4400279"/>
                  <a:ext cx="306080" cy="1067964"/>
                  <a:chOff x="4674181" y="4705830"/>
                  <a:chExt cx="275700" cy="823920"/>
                </a:xfrm>
              </p:grpSpPr>
              <p:sp>
                <p:nvSpPr>
                  <p:cNvPr id="23" name="Google Shape;1354;p104">
                    <a:extLst>
                      <a:ext uri="{FF2B5EF4-FFF2-40B4-BE49-F238E27FC236}">
                        <a16:creationId xmlns:a16="http://schemas.microsoft.com/office/drawing/2014/main" id="{4C6A7B9E-69AE-501D-1378-FDD8B8D94959}"/>
                      </a:ext>
                    </a:extLst>
                  </p:cNvPr>
                  <p:cNvSpPr/>
                  <p:nvPr/>
                </p:nvSpPr>
                <p:spPr>
                  <a:xfrm>
                    <a:off x="477588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sp>
                <p:nvSpPr>
                  <p:cNvPr id="24" name="Google Shape;1355;p104">
                    <a:extLst>
                      <a:ext uri="{FF2B5EF4-FFF2-40B4-BE49-F238E27FC236}">
                        <a16:creationId xmlns:a16="http://schemas.microsoft.com/office/drawing/2014/main" id="{EA992CF0-F97D-F076-9A7A-DB43E7EF8384}"/>
                      </a:ext>
                    </a:extLst>
                  </p:cNvPr>
                  <p:cNvSpPr/>
                  <p:nvPr/>
                </p:nvSpPr>
                <p:spPr>
                  <a:xfrm>
                    <a:off x="4674181"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fr-CA" sz="1800" dirty="0">
                      <a:solidFill>
                        <a:srgbClr val="F1F2F2"/>
                      </a:solidFill>
                      <a:latin typeface="Arial"/>
                      <a:ea typeface="Arial"/>
                      <a:cs typeface="Arial"/>
                      <a:sym typeface="Arial"/>
                    </a:endParaRPr>
                  </a:p>
                </p:txBody>
              </p:sp>
            </p:grpSp>
          </p:grpSp>
          <p:sp>
            <p:nvSpPr>
              <p:cNvPr id="18" name="Google Shape;1357;p104" descr="Bicycle Icon">
                <a:extLst>
                  <a:ext uri="{FF2B5EF4-FFF2-40B4-BE49-F238E27FC236}">
                    <a16:creationId xmlns:a16="http://schemas.microsoft.com/office/drawing/2014/main" id="{70058B1D-0A8A-760D-BED4-2BB0341C1D65}"/>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fr-CA" sz="1800" dirty="0">
                  <a:solidFill>
                    <a:srgbClr val="000000"/>
                  </a:solidFill>
                  <a:latin typeface="Arial"/>
                  <a:ea typeface="Arial"/>
                  <a:cs typeface="Arial"/>
                  <a:sym typeface="Arial"/>
                </a:endParaRPr>
              </a:p>
            </p:txBody>
          </p:sp>
        </p:grpSp>
        <p:sp>
          <p:nvSpPr>
            <p:cNvPr id="16" name="Title 2">
              <a:extLst>
                <a:ext uri="{FF2B5EF4-FFF2-40B4-BE49-F238E27FC236}">
                  <a16:creationId xmlns:a16="http://schemas.microsoft.com/office/drawing/2014/main" id="{9FC768E5-1F64-2B56-E0C1-44C03EE92B56}"/>
                </a:ext>
              </a:extLst>
            </p:cNvPr>
            <p:cNvSpPr txBox="1">
              <a:spLocks/>
            </p:cNvSpPr>
            <p:nvPr>
              <p:custDataLst>
                <p:tags r:id="rId7"/>
              </p:custDataLst>
            </p:nvPr>
          </p:nvSpPr>
          <p:spPr>
            <a:xfrm>
              <a:off x="2578923" y="2219562"/>
              <a:ext cx="4078669" cy="60990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lang="fr-CA" sz="2100" b="1" dirty="0">
                  <a:latin typeface="+mn-lt"/>
                  <a:cs typeface="Arial" panose="020B0604020202020204" pitchFamily="34" charset="0"/>
                </a:rPr>
                <a:t>Exemple de voisinages</a:t>
              </a:r>
              <a:endParaRPr kumimoji="0" lang="fr-CA" sz="2100" b="1" i="0" strike="noStrike" kern="1200" cap="none" spc="0" normalizeH="0" baseline="0" noProof="0" dirty="0">
                <a:ln>
                  <a:noFill/>
                </a:ln>
                <a:effectLst/>
                <a:uLnTx/>
                <a:uFillTx/>
                <a:latin typeface="+mn-lt"/>
                <a:cs typeface="Arial" panose="020B0604020202020204" pitchFamily="34" charset="0"/>
              </a:endParaRPr>
            </a:p>
          </p:txBody>
        </p:sp>
      </p:grpSp>
    </p:spTree>
    <p:extLst>
      <p:ext uri="{BB962C8B-B14F-4D97-AF65-F5344CB8AC3E}">
        <p14:creationId xmlns:p14="http://schemas.microsoft.com/office/powerpoint/2010/main" val="10220711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rgbClr val="5B5B5B"/>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8414986"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ribuer au succès de l’initiative</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graphicFrame>
        <p:nvGraphicFramePr>
          <p:cNvPr id="17" name="Diagramme 16" descr="expérimenter, penser aux autres et être patient">
            <a:extLst>
              <a:ext uri="{FF2B5EF4-FFF2-40B4-BE49-F238E27FC236}">
                <a16:creationId xmlns:a16="http://schemas.microsoft.com/office/drawing/2014/main" id="{C41D58B7-6B00-125B-22E9-8018C129AE87}"/>
              </a:ext>
            </a:extLst>
          </p:cNvPr>
          <p:cNvGraphicFramePr/>
          <p:nvPr>
            <p:custDataLst>
              <p:tags r:id="rId4"/>
            </p:custDataLst>
            <p:extLst>
              <p:ext uri="{D42A27DB-BD31-4B8C-83A1-F6EECF244321}">
                <p14:modId xmlns:p14="http://schemas.microsoft.com/office/powerpoint/2010/main" val="498983677"/>
              </p:ext>
            </p:extLst>
          </p:nvPr>
        </p:nvGraphicFramePr>
        <p:xfrm>
          <a:off x="1880753" y="1123699"/>
          <a:ext cx="8595591" cy="46108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278333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Échéancier</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59">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
        <p:nvSpPr>
          <p:cNvPr id="16" name="ZoneTexte 15">
            <a:extLst>
              <a:ext uri="{FF2B5EF4-FFF2-40B4-BE49-F238E27FC236}">
                <a16:creationId xmlns:a16="http://schemas.microsoft.com/office/drawing/2014/main" id="{2C35CEA1-D994-28EA-4A4F-631EDF5BE865}"/>
              </a:ext>
            </a:extLst>
          </p:cNvPr>
          <p:cNvSpPr txBox="1"/>
          <p:nvPr>
            <p:custDataLst>
              <p:tags r:id="rId4"/>
            </p:custDataLst>
          </p:nvPr>
        </p:nvSpPr>
        <p:spPr>
          <a:xfrm>
            <a:off x="138419" y="2178538"/>
            <a:ext cx="2223252" cy="523220"/>
          </a:xfrm>
          <a:prstGeom prst="rect">
            <a:avLst/>
          </a:prstGeom>
          <a:noFill/>
        </p:spPr>
        <p:txBody>
          <a:bodyPr wrap="square" rtlCol="0">
            <a:spAutoFit/>
          </a:bodyPr>
          <a:lstStyle/>
          <a:p>
            <a:pPr algn="ctr"/>
            <a:r>
              <a:rPr lang="fr-CA" sz="1400" dirty="0"/>
              <a:t>Communication et gestion du changement</a:t>
            </a:r>
          </a:p>
        </p:txBody>
      </p:sp>
      <p:sp>
        <p:nvSpPr>
          <p:cNvPr id="5" name="ZoneTexte 4">
            <a:extLst>
              <a:ext uri="{FF2B5EF4-FFF2-40B4-BE49-F238E27FC236}">
                <a16:creationId xmlns:a16="http://schemas.microsoft.com/office/drawing/2014/main" id="{A4374EFD-96BA-20EC-CC27-A13CEB0C6400}"/>
              </a:ext>
            </a:extLst>
          </p:cNvPr>
          <p:cNvSpPr txBox="1"/>
          <p:nvPr>
            <p:custDataLst>
              <p:tags r:id="rId5"/>
            </p:custDataLst>
          </p:nvPr>
        </p:nvSpPr>
        <p:spPr>
          <a:xfrm>
            <a:off x="1181605" y="4989616"/>
            <a:ext cx="2063105" cy="369332"/>
          </a:xfrm>
          <a:prstGeom prst="rect">
            <a:avLst/>
          </a:prstGeom>
          <a:noFill/>
        </p:spPr>
        <p:txBody>
          <a:bodyPr wrap="square" rtlCol="0">
            <a:spAutoFit/>
          </a:bodyPr>
          <a:lstStyle/>
          <a:p>
            <a:pPr algn="ctr"/>
            <a:r>
              <a:rPr lang="fr-CA" dirty="0"/>
              <a:t>Date</a:t>
            </a:r>
          </a:p>
        </p:txBody>
      </p:sp>
      <p:sp>
        <p:nvSpPr>
          <p:cNvPr id="6" name="ZoneTexte 5">
            <a:extLst>
              <a:ext uri="{FF2B5EF4-FFF2-40B4-BE49-F238E27FC236}">
                <a16:creationId xmlns:a16="http://schemas.microsoft.com/office/drawing/2014/main" id="{1EEE46AB-E199-BFF5-8717-7CE4227F668E}"/>
              </a:ext>
            </a:extLst>
          </p:cNvPr>
          <p:cNvSpPr txBox="1"/>
          <p:nvPr>
            <p:custDataLst>
              <p:tags r:id="rId6"/>
            </p:custDataLst>
          </p:nvPr>
        </p:nvSpPr>
        <p:spPr>
          <a:xfrm>
            <a:off x="443883" y="5342908"/>
            <a:ext cx="3625075" cy="646331"/>
          </a:xfrm>
          <a:prstGeom prst="rect">
            <a:avLst/>
          </a:prstGeom>
          <a:noFill/>
        </p:spPr>
        <p:txBody>
          <a:bodyPr wrap="square" rtlCol="0">
            <a:spAutoFit/>
          </a:bodyPr>
          <a:lstStyle/>
          <a:p>
            <a:pPr algn="ctr"/>
            <a:r>
              <a:rPr lang="fr-CA" b="1" dirty="0"/>
              <a:t>Retrait des biens personnels et professionnels </a:t>
            </a:r>
          </a:p>
        </p:txBody>
      </p:sp>
      <p:sp>
        <p:nvSpPr>
          <p:cNvPr id="7" name="ZoneTexte 6">
            <a:extLst>
              <a:ext uri="{FF2B5EF4-FFF2-40B4-BE49-F238E27FC236}">
                <a16:creationId xmlns:a16="http://schemas.microsoft.com/office/drawing/2014/main" id="{F6FC4EB5-6A97-F3B8-AEBA-5B4EDA1C15B9}"/>
              </a:ext>
            </a:extLst>
          </p:cNvPr>
          <p:cNvSpPr txBox="1"/>
          <p:nvPr>
            <p:custDataLst>
              <p:tags r:id="rId7"/>
            </p:custDataLst>
          </p:nvPr>
        </p:nvSpPr>
        <p:spPr>
          <a:xfrm>
            <a:off x="2770660" y="888139"/>
            <a:ext cx="2374521" cy="369332"/>
          </a:xfrm>
          <a:prstGeom prst="rect">
            <a:avLst/>
          </a:prstGeom>
          <a:noFill/>
        </p:spPr>
        <p:txBody>
          <a:bodyPr wrap="square" rtlCol="0">
            <a:spAutoFit/>
          </a:bodyPr>
          <a:lstStyle/>
          <a:p>
            <a:pPr algn="ctr"/>
            <a:r>
              <a:rPr lang="fr-CA" dirty="0"/>
              <a:t>Date</a:t>
            </a:r>
          </a:p>
        </p:txBody>
      </p:sp>
      <p:sp>
        <p:nvSpPr>
          <p:cNvPr id="10" name="ZoneTexte 9">
            <a:extLst>
              <a:ext uri="{FF2B5EF4-FFF2-40B4-BE49-F238E27FC236}">
                <a16:creationId xmlns:a16="http://schemas.microsoft.com/office/drawing/2014/main" id="{64B9E736-275C-70FF-647F-AD66A2CAF66F}"/>
              </a:ext>
            </a:extLst>
          </p:cNvPr>
          <p:cNvSpPr txBox="1"/>
          <p:nvPr>
            <p:custDataLst>
              <p:tags r:id="rId8"/>
            </p:custDataLst>
          </p:nvPr>
        </p:nvSpPr>
        <p:spPr>
          <a:xfrm>
            <a:off x="2304365" y="1260772"/>
            <a:ext cx="3471187" cy="369332"/>
          </a:xfrm>
          <a:prstGeom prst="rect">
            <a:avLst/>
          </a:prstGeom>
          <a:noFill/>
        </p:spPr>
        <p:txBody>
          <a:bodyPr wrap="square" rtlCol="0">
            <a:spAutoFit/>
          </a:bodyPr>
          <a:lstStyle/>
          <a:p>
            <a:pPr algn="ctr"/>
            <a:r>
              <a:rPr lang="fr-CA" b="1" dirty="0"/>
              <a:t>Fermeture de l’étage XYZ</a:t>
            </a:r>
          </a:p>
        </p:txBody>
      </p:sp>
      <p:sp>
        <p:nvSpPr>
          <p:cNvPr id="9" name="ZoneTexte 8">
            <a:extLst>
              <a:ext uri="{FF2B5EF4-FFF2-40B4-BE49-F238E27FC236}">
                <a16:creationId xmlns:a16="http://schemas.microsoft.com/office/drawing/2014/main" id="{92F5A39C-7194-FD3B-3DAF-BF8DE677C204}"/>
              </a:ext>
            </a:extLst>
          </p:cNvPr>
          <p:cNvSpPr txBox="1"/>
          <p:nvPr>
            <p:custDataLst>
              <p:tags r:id="rId9"/>
            </p:custDataLst>
          </p:nvPr>
        </p:nvSpPr>
        <p:spPr>
          <a:xfrm>
            <a:off x="4744000" y="5027841"/>
            <a:ext cx="2063105" cy="369332"/>
          </a:xfrm>
          <a:prstGeom prst="rect">
            <a:avLst/>
          </a:prstGeom>
          <a:noFill/>
        </p:spPr>
        <p:txBody>
          <a:bodyPr wrap="square" rtlCol="0">
            <a:spAutoFit/>
          </a:bodyPr>
          <a:lstStyle/>
          <a:p>
            <a:pPr algn="ctr"/>
            <a:r>
              <a:rPr lang="fr-CA" dirty="0"/>
              <a:t>Date</a:t>
            </a:r>
          </a:p>
        </p:txBody>
      </p:sp>
      <p:sp>
        <p:nvSpPr>
          <p:cNvPr id="12" name="ZoneTexte 11">
            <a:extLst>
              <a:ext uri="{FF2B5EF4-FFF2-40B4-BE49-F238E27FC236}">
                <a16:creationId xmlns:a16="http://schemas.microsoft.com/office/drawing/2014/main" id="{5A496BE1-88E1-E380-0EE2-6F47622AF956}"/>
              </a:ext>
            </a:extLst>
          </p:cNvPr>
          <p:cNvSpPr txBox="1"/>
          <p:nvPr>
            <p:custDataLst>
              <p:tags r:id="rId10"/>
            </p:custDataLst>
          </p:nvPr>
        </p:nvSpPr>
        <p:spPr>
          <a:xfrm>
            <a:off x="4219152" y="5325388"/>
            <a:ext cx="3471187" cy="369332"/>
          </a:xfrm>
          <a:prstGeom prst="rect">
            <a:avLst/>
          </a:prstGeom>
          <a:noFill/>
        </p:spPr>
        <p:txBody>
          <a:bodyPr wrap="square" rtlCol="0">
            <a:spAutoFit/>
          </a:bodyPr>
          <a:lstStyle/>
          <a:p>
            <a:pPr algn="ctr"/>
            <a:r>
              <a:rPr lang="fr-CA" b="1" dirty="0"/>
              <a:t>Fermeture de l’étage XYZ</a:t>
            </a:r>
          </a:p>
        </p:txBody>
      </p:sp>
      <p:sp>
        <p:nvSpPr>
          <p:cNvPr id="11" name="ZoneTexte 10">
            <a:extLst>
              <a:ext uri="{FF2B5EF4-FFF2-40B4-BE49-F238E27FC236}">
                <a16:creationId xmlns:a16="http://schemas.microsoft.com/office/drawing/2014/main" id="{801E6EFE-3786-B503-900D-AB1C052C5DC7}"/>
              </a:ext>
            </a:extLst>
          </p:cNvPr>
          <p:cNvSpPr txBox="1"/>
          <p:nvPr>
            <p:custDataLst>
              <p:tags r:id="rId11"/>
            </p:custDataLst>
          </p:nvPr>
        </p:nvSpPr>
        <p:spPr>
          <a:xfrm>
            <a:off x="6534013" y="865752"/>
            <a:ext cx="1976523" cy="369332"/>
          </a:xfrm>
          <a:prstGeom prst="rect">
            <a:avLst/>
          </a:prstGeom>
          <a:noFill/>
        </p:spPr>
        <p:txBody>
          <a:bodyPr wrap="square" rtlCol="0">
            <a:spAutoFit/>
          </a:bodyPr>
          <a:lstStyle/>
          <a:p>
            <a:pPr algn="ctr"/>
            <a:r>
              <a:rPr lang="fr-CA" dirty="0"/>
              <a:t>Date</a:t>
            </a:r>
          </a:p>
        </p:txBody>
      </p:sp>
      <p:sp>
        <p:nvSpPr>
          <p:cNvPr id="13" name="ZoneTexte 12">
            <a:extLst>
              <a:ext uri="{FF2B5EF4-FFF2-40B4-BE49-F238E27FC236}">
                <a16:creationId xmlns:a16="http://schemas.microsoft.com/office/drawing/2014/main" id="{918BF31B-5C95-6A42-7144-947D2223A772}"/>
              </a:ext>
            </a:extLst>
          </p:cNvPr>
          <p:cNvSpPr txBox="1"/>
          <p:nvPr>
            <p:custDataLst>
              <p:tags r:id="rId12"/>
            </p:custDataLst>
          </p:nvPr>
        </p:nvSpPr>
        <p:spPr>
          <a:xfrm>
            <a:off x="5849772" y="1257471"/>
            <a:ext cx="3487205" cy="369332"/>
          </a:xfrm>
          <a:prstGeom prst="rect">
            <a:avLst/>
          </a:prstGeom>
          <a:noFill/>
        </p:spPr>
        <p:txBody>
          <a:bodyPr wrap="square" rtlCol="0">
            <a:spAutoFit/>
          </a:bodyPr>
          <a:lstStyle/>
          <a:p>
            <a:pPr algn="ctr"/>
            <a:r>
              <a:rPr lang="fr-CA" b="1" dirty="0"/>
              <a:t>Fermeture de l’étage XYZ</a:t>
            </a:r>
          </a:p>
        </p:txBody>
      </p:sp>
      <p:sp>
        <p:nvSpPr>
          <p:cNvPr id="14" name="ZoneTexte 13">
            <a:extLst>
              <a:ext uri="{FF2B5EF4-FFF2-40B4-BE49-F238E27FC236}">
                <a16:creationId xmlns:a16="http://schemas.microsoft.com/office/drawing/2014/main" id="{CCB72D98-435F-5CEC-6FB4-919D7DBD56AE}"/>
              </a:ext>
            </a:extLst>
          </p:cNvPr>
          <p:cNvSpPr txBox="1"/>
          <p:nvPr>
            <p:custDataLst>
              <p:tags r:id="rId13"/>
            </p:custDataLst>
          </p:nvPr>
        </p:nvSpPr>
        <p:spPr>
          <a:xfrm>
            <a:off x="8296913" y="5056419"/>
            <a:ext cx="2155227" cy="369332"/>
          </a:xfrm>
          <a:prstGeom prst="rect">
            <a:avLst/>
          </a:prstGeom>
          <a:noFill/>
        </p:spPr>
        <p:txBody>
          <a:bodyPr wrap="square" rtlCol="0">
            <a:spAutoFit/>
          </a:bodyPr>
          <a:lstStyle/>
          <a:p>
            <a:pPr algn="ctr"/>
            <a:r>
              <a:rPr lang="fr-CA" dirty="0"/>
              <a:t>Date</a:t>
            </a:r>
          </a:p>
        </p:txBody>
      </p:sp>
      <p:sp>
        <p:nvSpPr>
          <p:cNvPr id="15" name="ZoneTexte 14">
            <a:extLst>
              <a:ext uri="{FF2B5EF4-FFF2-40B4-BE49-F238E27FC236}">
                <a16:creationId xmlns:a16="http://schemas.microsoft.com/office/drawing/2014/main" id="{88223E01-4461-3929-D0F3-0D9E480586ED}"/>
              </a:ext>
            </a:extLst>
          </p:cNvPr>
          <p:cNvSpPr txBox="1"/>
          <p:nvPr>
            <p:custDataLst>
              <p:tags r:id="rId14"/>
            </p:custDataLst>
          </p:nvPr>
        </p:nvSpPr>
        <p:spPr>
          <a:xfrm>
            <a:off x="7926569" y="5392121"/>
            <a:ext cx="3034194" cy="646331"/>
          </a:xfrm>
          <a:prstGeom prst="rect">
            <a:avLst/>
          </a:prstGeom>
          <a:noFill/>
        </p:spPr>
        <p:txBody>
          <a:bodyPr wrap="square" rtlCol="0">
            <a:spAutoFit/>
          </a:bodyPr>
          <a:lstStyle/>
          <a:p>
            <a:pPr algn="ctr"/>
            <a:r>
              <a:rPr lang="fr-CA" b="1" dirty="0"/>
              <a:t>Achèvement de l’optimisation</a:t>
            </a:r>
          </a:p>
        </p:txBody>
      </p:sp>
      <p:sp>
        <p:nvSpPr>
          <p:cNvPr id="17" name="Ellipse 16">
            <a:extLst>
              <a:ext uri="{FF2B5EF4-FFF2-40B4-BE49-F238E27FC236}">
                <a16:creationId xmlns:a16="http://schemas.microsoft.com/office/drawing/2014/main" id="{66FF4875-49A7-FD78-EF0A-747DFB4CD1C8}"/>
              </a:ext>
              <a:ext uri="{C183D7F6-B498-43B3-948B-1728B52AA6E4}">
                <adec:decorative xmlns:adec="http://schemas.microsoft.com/office/drawing/2017/decorative" val="1"/>
              </a:ext>
            </a:extLst>
          </p:cNvPr>
          <p:cNvSpPr/>
          <p:nvPr>
            <p:custDataLst>
              <p:tags r:id="rId15"/>
            </p:custDataLst>
          </p:nvPr>
        </p:nvSpPr>
        <p:spPr>
          <a:xfrm>
            <a:off x="1769254" y="290564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Ellipse 17">
            <a:extLst>
              <a:ext uri="{FF2B5EF4-FFF2-40B4-BE49-F238E27FC236}">
                <a16:creationId xmlns:a16="http://schemas.microsoft.com/office/drawing/2014/main" id="{DBB57DC8-4628-1B79-318B-666FC4670D91}"/>
              </a:ext>
              <a:ext uri="{C183D7F6-B498-43B3-948B-1728B52AA6E4}">
                <adec:decorative xmlns:adec="http://schemas.microsoft.com/office/drawing/2017/decorative" val="1"/>
              </a:ext>
            </a:extLst>
          </p:cNvPr>
          <p:cNvSpPr/>
          <p:nvPr>
            <p:custDataLst>
              <p:tags r:id="rId16"/>
            </p:custDataLst>
          </p:nvPr>
        </p:nvSpPr>
        <p:spPr>
          <a:xfrm>
            <a:off x="1862159" y="300015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9" name="Ellipse 18">
            <a:extLst>
              <a:ext uri="{FF2B5EF4-FFF2-40B4-BE49-F238E27FC236}">
                <a16:creationId xmlns:a16="http://schemas.microsoft.com/office/drawing/2014/main" id="{AF495A8B-A250-7A4D-21E3-921C682454ED}"/>
              </a:ext>
              <a:ext uri="{C183D7F6-B498-43B3-948B-1728B52AA6E4}">
                <adec:decorative xmlns:adec="http://schemas.microsoft.com/office/drawing/2017/decorative" val="1"/>
              </a:ext>
            </a:extLst>
          </p:cNvPr>
          <p:cNvSpPr/>
          <p:nvPr>
            <p:custDataLst>
              <p:tags r:id="rId17"/>
            </p:custDataLst>
          </p:nvPr>
        </p:nvSpPr>
        <p:spPr>
          <a:xfrm>
            <a:off x="2029021" y="320205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Cercle : creux 19">
            <a:extLst>
              <a:ext uri="{FF2B5EF4-FFF2-40B4-BE49-F238E27FC236}">
                <a16:creationId xmlns:a16="http://schemas.microsoft.com/office/drawing/2014/main" id="{CFA085D6-0099-ED89-398A-18F25D593F88}"/>
              </a:ext>
              <a:ext uri="{C183D7F6-B498-43B3-948B-1728B52AA6E4}">
                <adec:decorative xmlns:adec="http://schemas.microsoft.com/office/drawing/2017/decorative" val="1"/>
              </a:ext>
            </a:extLst>
          </p:cNvPr>
          <p:cNvSpPr/>
          <p:nvPr>
            <p:custDataLst>
              <p:tags r:id="rId18"/>
            </p:custDataLst>
          </p:nvPr>
        </p:nvSpPr>
        <p:spPr>
          <a:xfrm>
            <a:off x="1895739" y="303503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1" name="Connecteur droit 20">
            <a:extLst>
              <a:ext uri="{FF2B5EF4-FFF2-40B4-BE49-F238E27FC236}">
                <a16:creationId xmlns:a16="http://schemas.microsoft.com/office/drawing/2014/main" id="{FA7C870F-1F8C-F607-CBAC-3540C33D8445}"/>
              </a:ext>
              <a:ext uri="{C183D7F6-B498-43B3-948B-1728B52AA6E4}">
                <adec:decorative xmlns:adec="http://schemas.microsoft.com/office/drawing/2017/decorative" val="1"/>
              </a:ext>
            </a:extLst>
          </p:cNvPr>
          <p:cNvCxnSpPr>
            <a:cxnSpLocks/>
          </p:cNvCxnSpPr>
          <p:nvPr>
            <p:custDataLst>
              <p:tags r:id="rId19"/>
            </p:custDataLst>
          </p:nvPr>
        </p:nvCxnSpPr>
        <p:spPr>
          <a:xfrm>
            <a:off x="2213158" y="377751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2" name="Arc 21">
            <a:extLst>
              <a:ext uri="{FF2B5EF4-FFF2-40B4-BE49-F238E27FC236}">
                <a16:creationId xmlns:a16="http://schemas.microsoft.com/office/drawing/2014/main" id="{C612F677-64CF-8D3A-4DB1-4DE1B2AF9EA1}"/>
              </a:ext>
              <a:ext uri="{C183D7F6-B498-43B3-948B-1728B52AA6E4}">
                <adec:decorative xmlns:adec="http://schemas.microsoft.com/office/drawing/2017/decorative" val="1"/>
              </a:ext>
            </a:extLst>
          </p:cNvPr>
          <p:cNvSpPr/>
          <p:nvPr>
            <p:custDataLst>
              <p:tags r:id="rId20"/>
            </p:custDataLst>
          </p:nvPr>
        </p:nvSpPr>
        <p:spPr>
          <a:xfrm rot="12134810">
            <a:off x="1665990" y="277888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23" name="Connecteur droit 22">
            <a:extLst>
              <a:ext uri="{FF2B5EF4-FFF2-40B4-BE49-F238E27FC236}">
                <a16:creationId xmlns:a16="http://schemas.microsoft.com/office/drawing/2014/main" id="{60956224-3BBE-B324-6C51-85BF60ED8D62}"/>
              </a:ext>
              <a:ext uri="{C183D7F6-B498-43B3-948B-1728B52AA6E4}">
                <adec:decorative xmlns:adec="http://schemas.microsoft.com/office/drawing/2017/decorative" val="1"/>
              </a:ext>
            </a:extLst>
          </p:cNvPr>
          <p:cNvCxnSpPr>
            <a:cxnSpLocks/>
            <a:endCxn id="19" idx="2"/>
          </p:cNvCxnSpPr>
          <p:nvPr>
            <p:custDataLst>
              <p:tags r:id="rId21"/>
            </p:custDataLst>
          </p:nvPr>
        </p:nvCxnSpPr>
        <p:spPr>
          <a:xfrm>
            <a:off x="15172" y="3322232"/>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4" name="Ellipse 23">
            <a:extLst>
              <a:ext uri="{FF2B5EF4-FFF2-40B4-BE49-F238E27FC236}">
                <a16:creationId xmlns:a16="http://schemas.microsoft.com/office/drawing/2014/main" id="{46475CA0-5389-EEDC-9749-512BE3642A63}"/>
              </a:ext>
              <a:ext uri="{C183D7F6-B498-43B3-948B-1728B52AA6E4}">
                <adec:decorative xmlns:adec="http://schemas.microsoft.com/office/drawing/2017/decorative" val="1"/>
              </a:ext>
            </a:extLst>
          </p:cNvPr>
          <p:cNvSpPr/>
          <p:nvPr>
            <p:custDataLst>
              <p:tags r:id="rId22"/>
            </p:custDataLst>
          </p:nvPr>
        </p:nvSpPr>
        <p:spPr>
          <a:xfrm>
            <a:off x="2130136" y="479499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5" name="Ellipse 24">
            <a:extLst>
              <a:ext uri="{FF2B5EF4-FFF2-40B4-BE49-F238E27FC236}">
                <a16:creationId xmlns:a16="http://schemas.microsoft.com/office/drawing/2014/main" id="{9D314767-FE2C-346B-8209-21ED556BD3C8}"/>
              </a:ext>
              <a:ext uri="{C183D7F6-B498-43B3-948B-1728B52AA6E4}">
                <adec:decorative xmlns:adec="http://schemas.microsoft.com/office/drawing/2017/decorative" val="1"/>
              </a:ext>
            </a:extLst>
          </p:cNvPr>
          <p:cNvSpPr/>
          <p:nvPr>
            <p:custDataLst>
              <p:tags r:id="rId23"/>
            </p:custDataLst>
          </p:nvPr>
        </p:nvSpPr>
        <p:spPr>
          <a:xfrm>
            <a:off x="3573815" y="2891786"/>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Ellipse 25">
            <a:extLst>
              <a:ext uri="{FF2B5EF4-FFF2-40B4-BE49-F238E27FC236}">
                <a16:creationId xmlns:a16="http://schemas.microsoft.com/office/drawing/2014/main" id="{324E2945-CFA9-E091-39A7-0B3A162EC931}"/>
              </a:ext>
              <a:ext uri="{C183D7F6-B498-43B3-948B-1728B52AA6E4}">
                <adec:decorative xmlns:adec="http://schemas.microsoft.com/office/drawing/2017/decorative" val="1"/>
              </a:ext>
            </a:extLst>
          </p:cNvPr>
          <p:cNvSpPr/>
          <p:nvPr>
            <p:custDataLst>
              <p:tags r:id="rId24"/>
            </p:custDataLst>
          </p:nvPr>
        </p:nvSpPr>
        <p:spPr>
          <a:xfrm>
            <a:off x="3666720" y="2986303"/>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11ECA5C9-9824-DF69-5A99-FCF83FBBF07E}"/>
              </a:ext>
              <a:ext uri="{C183D7F6-B498-43B3-948B-1728B52AA6E4}">
                <adec:decorative xmlns:adec="http://schemas.microsoft.com/office/drawing/2017/decorative" val="1"/>
              </a:ext>
            </a:extLst>
          </p:cNvPr>
          <p:cNvSpPr/>
          <p:nvPr>
            <p:custDataLst>
              <p:tags r:id="rId25"/>
            </p:custDataLst>
          </p:nvPr>
        </p:nvSpPr>
        <p:spPr>
          <a:xfrm>
            <a:off x="3833582" y="3188197"/>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Cercle : creux 27">
            <a:extLst>
              <a:ext uri="{FF2B5EF4-FFF2-40B4-BE49-F238E27FC236}">
                <a16:creationId xmlns:a16="http://schemas.microsoft.com/office/drawing/2014/main" id="{0A62947A-5147-AF36-8215-7461ED6217C6}"/>
              </a:ext>
              <a:ext uri="{C183D7F6-B498-43B3-948B-1728B52AA6E4}">
                <adec:decorative xmlns:adec="http://schemas.microsoft.com/office/drawing/2017/decorative" val="1"/>
              </a:ext>
            </a:extLst>
          </p:cNvPr>
          <p:cNvSpPr/>
          <p:nvPr>
            <p:custDataLst>
              <p:tags r:id="rId26"/>
            </p:custDataLst>
          </p:nvPr>
        </p:nvSpPr>
        <p:spPr>
          <a:xfrm>
            <a:off x="3700300" y="3021182"/>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9" name="Connecteur droit 28">
            <a:extLst>
              <a:ext uri="{FF2B5EF4-FFF2-40B4-BE49-F238E27FC236}">
                <a16:creationId xmlns:a16="http://schemas.microsoft.com/office/drawing/2014/main" id="{EB765993-0C2A-63E9-2E8E-2A0287F7F400}"/>
              </a:ext>
              <a:ext uri="{C183D7F6-B498-43B3-948B-1728B52AA6E4}">
                <adec:decorative xmlns:adec="http://schemas.microsoft.com/office/drawing/2017/decorative" val="1"/>
              </a:ext>
            </a:extLst>
          </p:cNvPr>
          <p:cNvCxnSpPr>
            <a:cxnSpLocks/>
          </p:cNvCxnSpPr>
          <p:nvPr>
            <p:custDataLst>
              <p:tags r:id="rId27"/>
            </p:custDataLst>
          </p:nvPr>
        </p:nvCxnSpPr>
        <p:spPr>
          <a:xfrm>
            <a:off x="4006694" y="1863913"/>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0" name="Arc 29">
            <a:extLst>
              <a:ext uri="{FF2B5EF4-FFF2-40B4-BE49-F238E27FC236}">
                <a16:creationId xmlns:a16="http://schemas.microsoft.com/office/drawing/2014/main" id="{2ACFEF68-1F4C-FC65-92A8-C60D7FC9DA1B}"/>
              </a:ext>
              <a:ext uri="{C183D7F6-B498-43B3-948B-1728B52AA6E4}">
                <adec:decorative xmlns:adec="http://schemas.microsoft.com/office/drawing/2017/decorative" val="1"/>
              </a:ext>
            </a:extLst>
          </p:cNvPr>
          <p:cNvSpPr/>
          <p:nvPr>
            <p:custDataLst>
              <p:tags r:id="rId28"/>
            </p:custDataLst>
          </p:nvPr>
        </p:nvSpPr>
        <p:spPr>
          <a:xfrm rot="17357701">
            <a:off x="3444416" y="2770163"/>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1" name="Ellipse 30">
            <a:extLst>
              <a:ext uri="{FF2B5EF4-FFF2-40B4-BE49-F238E27FC236}">
                <a16:creationId xmlns:a16="http://schemas.microsoft.com/office/drawing/2014/main" id="{F1FC45FA-1DF2-7C17-C659-9ED369795783}"/>
              </a:ext>
              <a:ext uri="{C183D7F6-B498-43B3-948B-1728B52AA6E4}">
                <adec:decorative xmlns:adec="http://schemas.microsoft.com/office/drawing/2017/decorative" val="1"/>
              </a:ext>
            </a:extLst>
          </p:cNvPr>
          <p:cNvSpPr/>
          <p:nvPr>
            <p:custDataLst>
              <p:tags r:id="rId29"/>
            </p:custDataLst>
          </p:nvPr>
        </p:nvSpPr>
        <p:spPr>
          <a:xfrm>
            <a:off x="3903526" y="1733181"/>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2" name="Connecteur droit 31">
            <a:extLst>
              <a:ext uri="{FF2B5EF4-FFF2-40B4-BE49-F238E27FC236}">
                <a16:creationId xmlns:a16="http://schemas.microsoft.com/office/drawing/2014/main" id="{C41D0D38-D37A-C702-1711-C04AE3FE434C}"/>
              </a:ext>
              <a:ext uri="{C183D7F6-B498-43B3-948B-1728B52AA6E4}">
                <adec:decorative xmlns:adec="http://schemas.microsoft.com/office/drawing/2017/decorative" val="1"/>
              </a:ext>
            </a:extLst>
          </p:cNvPr>
          <p:cNvCxnSpPr>
            <a:cxnSpLocks/>
          </p:cNvCxnSpPr>
          <p:nvPr>
            <p:custDataLst>
              <p:tags r:id="rId30"/>
            </p:custDataLst>
          </p:nvPr>
        </p:nvCxnSpPr>
        <p:spPr>
          <a:xfrm>
            <a:off x="2348602" y="334137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3" name="Ellipse 32">
            <a:extLst>
              <a:ext uri="{FF2B5EF4-FFF2-40B4-BE49-F238E27FC236}">
                <a16:creationId xmlns:a16="http://schemas.microsoft.com/office/drawing/2014/main" id="{B52E6772-4247-DF96-8615-5FF05951886D}"/>
              </a:ext>
              <a:ext uri="{C183D7F6-B498-43B3-948B-1728B52AA6E4}">
                <adec:decorative xmlns:adec="http://schemas.microsoft.com/office/drawing/2017/decorative" val="1"/>
              </a:ext>
            </a:extLst>
          </p:cNvPr>
          <p:cNvSpPr/>
          <p:nvPr>
            <p:custDataLst>
              <p:tags r:id="rId31"/>
            </p:custDataLst>
          </p:nvPr>
        </p:nvSpPr>
        <p:spPr>
          <a:xfrm>
            <a:off x="5361049" y="290217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4" name="Ellipse 33">
            <a:extLst>
              <a:ext uri="{FF2B5EF4-FFF2-40B4-BE49-F238E27FC236}">
                <a16:creationId xmlns:a16="http://schemas.microsoft.com/office/drawing/2014/main" id="{F7AE0944-3100-D1BD-EAD8-DD82CA214995}"/>
              </a:ext>
              <a:ext uri="{C183D7F6-B498-43B3-948B-1728B52AA6E4}">
                <adec:decorative xmlns:adec="http://schemas.microsoft.com/office/drawing/2017/decorative" val="1"/>
              </a:ext>
            </a:extLst>
          </p:cNvPr>
          <p:cNvSpPr/>
          <p:nvPr>
            <p:custDataLst>
              <p:tags r:id="rId32"/>
            </p:custDataLst>
          </p:nvPr>
        </p:nvSpPr>
        <p:spPr>
          <a:xfrm>
            <a:off x="5453954" y="2996694"/>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5" name="Ellipse 34">
            <a:extLst>
              <a:ext uri="{FF2B5EF4-FFF2-40B4-BE49-F238E27FC236}">
                <a16:creationId xmlns:a16="http://schemas.microsoft.com/office/drawing/2014/main" id="{A45381C8-31CD-44E3-FCCB-74232805A5CB}"/>
              </a:ext>
              <a:ext uri="{C183D7F6-B498-43B3-948B-1728B52AA6E4}">
                <adec:decorative xmlns:adec="http://schemas.microsoft.com/office/drawing/2017/decorative" val="1"/>
              </a:ext>
            </a:extLst>
          </p:cNvPr>
          <p:cNvSpPr/>
          <p:nvPr>
            <p:custDataLst>
              <p:tags r:id="rId33"/>
            </p:custDataLst>
          </p:nvPr>
        </p:nvSpPr>
        <p:spPr>
          <a:xfrm>
            <a:off x="5672771" y="3198588"/>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Cercle : creux 35">
            <a:extLst>
              <a:ext uri="{FF2B5EF4-FFF2-40B4-BE49-F238E27FC236}">
                <a16:creationId xmlns:a16="http://schemas.microsoft.com/office/drawing/2014/main" id="{9FA4E66A-B415-8D50-2224-E9B708C19B9F}"/>
              </a:ext>
              <a:ext uri="{C183D7F6-B498-43B3-948B-1728B52AA6E4}">
                <adec:decorative xmlns:adec="http://schemas.microsoft.com/office/drawing/2017/decorative" val="1"/>
              </a:ext>
            </a:extLst>
          </p:cNvPr>
          <p:cNvSpPr/>
          <p:nvPr>
            <p:custDataLst>
              <p:tags r:id="rId34"/>
            </p:custDataLst>
          </p:nvPr>
        </p:nvSpPr>
        <p:spPr>
          <a:xfrm>
            <a:off x="5487534" y="303157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7" name="Connecteur droit 36">
            <a:extLst>
              <a:ext uri="{FF2B5EF4-FFF2-40B4-BE49-F238E27FC236}">
                <a16:creationId xmlns:a16="http://schemas.microsoft.com/office/drawing/2014/main" id="{28AFBD7B-8DB2-DBD0-C274-7148A919B674}"/>
              </a:ext>
              <a:ext uri="{C183D7F6-B498-43B3-948B-1728B52AA6E4}">
                <adec:decorative xmlns:adec="http://schemas.microsoft.com/office/drawing/2017/decorative" val="1"/>
              </a:ext>
            </a:extLst>
          </p:cNvPr>
          <p:cNvCxnSpPr>
            <a:cxnSpLocks/>
          </p:cNvCxnSpPr>
          <p:nvPr>
            <p:custDataLst>
              <p:tags r:id="rId35"/>
            </p:custDataLst>
          </p:nvPr>
        </p:nvCxnSpPr>
        <p:spPr>
          <a:xfrm>
            <a:off x="5804953" y="377404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8" name="Ellipse 37">
            <a:extLst>
              <a:ext uri="{FF2B5EF4-FFF2-40B4-BE49-F238E27FC236}">
                <a16:creationId xmlns:a16="http://schemas.microsoft.com/office/drawing/2014/main" id="{75825BFD-0590-0064-1DB0-3560C4BC6CBC}"/>
              </a:ext>
              <a:ext uri="{C183D7F6-B498-43B3-948B-1728B52AA6E4}">
                <adec:decorative xmlns:adec="http://schemas.microsoft.com/office/drawing/2017/decorative" val="1"/>
              </a:ext>
            </a:extLst>
          </p:cNvPr>
          <p:cNvSpPr/>
          <p:nvPr>
            <p:custDataLst>
              <p:tags r:id="rId36"/>
            </p:custDataLst>
          </p:nvPr>
        </p:nvSpPr>
        <p:spPr>
          <a:xfrm>
            <a:off x="5721931" y="479152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9" name="Connecteur droit 38">
            <a:extLst>
              <a:ext uri="{FF2B5EF4-FFF2-40B4-BE49-F238E27FC236}">
                <a16:creationId xmlns:a16="http://schemas.microsoft.com/office/drawing/2014/main" id="{E49B0FD2-5582-BF26-495F-0F4CB8A7FDD1}"/>
              </a:ext>
              <a:ext uri="{C183D7F6-B498-43B3-948B-1728B52AA6E4}">
                <adec:decorative xmlns:adec="http://schemas.microsoft.com/office/drawing/2017/decorative" val="1"/>
              </a:ext>
            </a:extLst>
          </p:cNvPr>
          <p:cNvCxnSpPr>
            <a:cxnSpLocks/>
          </p:cNvCxnSpPr>
          <p:nvPr>
            <p:custDataLst>
              <p:tags r:id="rId37"/>
            </p:custDataLst>
          </p:nvPr>
        </p:nvCxnSpPr>
        <p:spPr>
          <a:xfrm>
            <a:off x="4142766" y="3327521"/>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Ellipse 39">
            <a:extLst>
              <a:ext uri="{FF2B5EF4-FFF2-40B4-BE49-F238E27FC236}">
                <a16:creationId xmlns:a16="http://schemas.microsoft.com/office/drawing/2014/main" id="{543AE277-053A-1846-322B-402EC8E55235}"/>
              </a:ext>
              <a:ext uri="{C183D7F6-B498-43B3-948B-1728B52AA6E4}">
                <adec:decorative xmlns:adec="http://schemas.microsoft.com/office/drawing/2017/decorative" val="1"/>
              </a:ext>
            </a:extLst>
          </p:cNvPr>
          <p:cNvSpPr/>
          <p:nvPr>
            <p:custDataLst>
              <p:tags r:id="rId38"/>
            </p:custDataLst>
          </p:nvPr>
        </p:nvSpPr>
        <p:spPr>
          <a:xfrm>
            <a:off x="7144820" y="289871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1" name="Ellipse 40">
            <a:extLst>
              <a:ext uri="{FF2B5EF4-FFF2-40B4-BE49-F238E27FC236}">
                <a16:creationId xmlns:a16="http://schemas.microsoft.com/office/drawing/2014/main" id="{6CC2F477-C447-01DD-A0EF-2C71D12FA9E7}"/>
              </a:ext>
              <a:ext uri="{C183D7F6-B498-43B3-948B-1728B52AA6E4}">
                <adec:decorative xmlns:adec="http://schemas.microsoft.com/office/drawing/2017/decorative" val="1"/>
              </a:ext>
            </a:extLst>
          </p:cNvPr>
          <p:cNvSpPr/>
          <p:nvPr>
            <p:custDataLst>
              <p:tags r:id="rId39"/>
            </p:custDataLst>
          </p:nvPr>
        </p:nvSpPr>
        <p:spPr>
          <a:xfrm>
            <a:off x="7237725" y="2993229"/>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2" name="Ellipse 41">
            <a:extLst>
              <a:ext uri="{FF2B5EF4-FFF2-40B4-BE49-F238E27FC236}">
                <a16:creationId xmlns:a16="http://schemas.microsoft.com/office/drawing/2014/main" id="{69A35460-9369-E06A-5878-2E3A1790FD06}"/>
              </a:ext>
              <a:ext uri="{C183D7F6-B498-43B3-948B-1728B52AA6E4}">
                <adec:decorative xmlns:adec="http://schemas.microsoft.com/office/drawing/2017/decorative" val="1"/>
              </a:ext>
            </a:extLst>
          </p:cNvPr>
          <p:cNvSpPr/>
          <p:nvPr>
            <p:custDataLst>
              <p:tags r:id="rId40"/>
            </p:custDataLst>
          </p:nvPr>
        </p:nvSpPr>
        <p:spPr>
          <a:xfrm>
            <a:off x="7404587" y="3195123"/>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43" name="Cercle : creux 42">
            <a:extLst>
              <a:ext uri="{FF2B5EF4-FFF2-40B4-BE49-F238E27FC236}">
                <a16:creationId xmlns:a16="http://schemas.microsoft.com/office/drawing/2014/main" id="{9EBD7031-D6B8-3C3F-6C21-36F88D9BB280}"/>
              </a:ext>
              <a:ext uri="{C183D7F6-B498-43B3-948B-1728B52AA6E4}">
                <adec:decorative xmlns:adec="http://schemas.microsoft.com/office/drawing/2017/decorative" val="1"/>
              </a:ext>
            </a:extLst>
          </p:cNvPr>
          <p:cNvSpPr/>
          <p:nvPr>
            <p:custDataLst>
              <p:tags r:id="rId41"/>
            </p:custDataLst>
          </p:nvPr>
        </p:nvSpPr>
        <p:spPr>
          <a:xfrm>
            <a:off x="7271305" y="302810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44" name="Connecteur droit 43">
            <a:extLst>
              <a:ext uri="{FF2B5EF4-FFF2-40B4-BE49-F238E27FC236}">
                <a16:creationId xmlns:a16="http://schemas.microsoft.com/office/drawing/2014/main" id="{BBBCF7AD-D691-FEB7-4DC9-3FDC9ED648A5}"/>
              </a:ext>
              <a:ext uri="{C183D7F6-B498-43B3-948B-1728B52AA6E4}">
                <adec:decorative xmlns:adec="http://schemas.microsoft.com/office/drawing/2017/decorative" val="1"/>
              </a:ext>
            </a:extLst>
          </p:cNvPr>
          <p:cNvCxnSpPr>
            <a:cxnSpLocks/>
          </p:cNvCxnSpPr>
          <p:nvPr>
            <p:custDataLst>
              <p:tags r:id="rId42"/>
            </p:custDataLst>
          </p:nvPr>
        </p:nvCxnSpPr>
        <p:spPr>
          <a:xfrm>
            <a:off x="7577699" y="1870839"/>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5" name="Arc 44">
            <a:extLst>
              <a:ext uri="{FF2B5EF4-FFF2-40B4-BE49-F238E27FC236}">
                <a16:creationId xmlns:a16="http://schemas.microsoft.com/office/drawing/2014/main" id="{1ECE98B4-7BDD-F02D-1EB2-4363C482AD8C}"/>
              </a:ext>
              <a:ext uri="{C183D7F6-B498-43B3-948B-1728B52AA6E4}">
                <adec:decorative xmlns:adec="http://schemas.microsoft.com/office/drawing/2017/decorative" val="1"/>
              </a:ext>
            </a:extLst>
          </p:cNvPr>
          <p:cNvSpPr/>
          <p:nvPr>
            <p:custDataLst>
              <p:tags r:id="rId43"/>
            </p:custDataLst>
          </p:nvPr>
        </p:nvSpPr>
        <p:spPr>
          <a:xfrm rot="17357701">
            <a:off x="7015421" y="2777089"/>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6" name="Ellipse 45">
            <a:extLst>
              <a:ext uri="{FF2B5EF4-FFF2-40B4-BE49-F238E27FC236}">
                <a16:creationId xmlns:a16="http://schemas.microsoft.com/office/drawing/2014/main" id="{038B6E04-26C2-25D3-B757-F068727BE88E}"/>
              </a:ext>
              <a:ext uri="{C183D7F6-B498-43B3-948B-1728B52AA6E4}">
                <adec:decorative xmlns:adec="http://schemas.microsoft.com/office/drawing/2017/decorative" val="1"/>
              </a:ext>
            </a:extLst>
          </p:cNvPr>
          <p:cNvSpPr/>
          <p:nvPr>
            <p:custDataLst>
              <p:tags r:id="rId44"/>
            </p:custDataLst>
          </p:nvPr>
        </p:nvSpPr>
        <p:spPr>
          <a:xfrm>
            <a:off x="7474531" y="1740107"/>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7" name="Connecteur droit 46">
            <a:extLst>
              <a:ext uri="{FF2B5EF4-FFF2-40B4-BE49-F238E27FC236}">
                <a16:creationId xmlns:a16="http://schemas.microsoft.com/office/drawing/2014/main" id="{FDB8C5F9-1293-B0D8-5E61-88BC09F5547E}"/>
              </a:ext>
              <a:ext uri="{C183D7F6-B498-43B3-948B-1728B52AA6E4}">
                <adec:decorative xmlns:adec="http://schemas.microsoft.com/office/drawing/2017/decorative" val="1"/>
              </a:ext>
            </a:extLst>
          </p:cNvPr>
          <p:cNvCxnSpPr>
            <a:cxnSpLocks/>
          </p:cNvCxnSpPr>
          <p:nvPr>
            <p:custDataLst>
              <p:tags r:id="rId45"/>
            </p:custDataLst>
          </p:nvPr>
        </p:nvCxnSpPr>
        <p:spPr>
          <a:xfrm>
            <a:off x="5923106" y="335590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8" name="Arc 47">
            <a:extLst>
              <a:ext uri="{FF2B5EF4-FFF2-40B4-BE49-F238E27FC236}">
                <a16:creationId xmlns:a16="http://schemas.microsoft.com/office/drawing/2014/main" id="{5A7F9F9E-9175-F5DF-2A93-F1044995B2FB}"/>
              </a:ext>
              <a:ext uri="{C183D7F6-B498-43B3-948B-1728B52AA6E4}">
                <adec:decorative xmlns:adec="http://schemas.microsoft.com/office/drawing/2017/decorative" val="1"/>
              </a:ext>
            </a:extLst>
          </p:cNvPr>
          <p:cNvSpPr/>
          <p:nvPr>
            <p:custDataLst>
              <p:tags r:id="rId46"/>
            </p:custDataLst>
          </p:nvPr>
        </p:nvSpPr>
        <p:spPr>
          <a:xfrm rot="12134810">
            <a:off x="5257785" y="2765027"/>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9" name="Ellipse 48">
            <a:extLst>
              <a:ext uri="{FF2B5EF4-FFF2-40B4-BE49-F238E27FC236}">
                <a16:creationId xmlns:a16="http://schemas.microsoft.com/office/drawing/2014/main" id="{A91144D3-0AAE-DE72-53BE-E833CED731E5}"/>
              </a:ext>
              <a:ext uri="{C183D7F6-B498-43B3-948B-1728B52AA6E4}">
                <adec:decorative xmlns:adec="http://schemas.microsoft.com/office/drawing/2017/decorative" val="1"/>
              </a:ext>
            </a:extLst>
          </p:cNvPr>
          <p:cNvSpPr/>
          <p:nvPr>
            <p:custDataLst>
              <p:tags r:id="rId47"/>
            </p:custDataLst>
          </p:nvPr>
        </p:nvSpPr>
        <p:spPr>
          <a:xfrm>
            <a:off x="8945903" y="295413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0" name="Ellipse 49">
            <a:extLst>
              <a:ext uri="{FF2B5EF4-FFF2-40B4-BE49-F238E27FC236}">
                <a16:creationId xmlns:a16="http://schemas.microsoft.com/office/drawing/2014/main" id="{C12ED88E-D26B-D688-B79C-4074BFFD53F2}"/>
              </a:ext>
              <a:ext uri="{C183D7F6-B498-43B3-948B-1728B52AA6E4}">
                <adec:decorative xmlns:adec="http://schemas.microsoft.com/office/drawing/2017/decorative" val="1"/>
              </a:ext>
            </a:extLst>
          </p:cNvPr>
          <p:cNvSpPr/>
          <p:nvPr>
            <p:custDataLst>
              <p:tags r:id="rId48"/>
            </p:custDataLst>
          </p:nvPr>
        </p:nvSpPr>
        <p:spPr>
          <a:xfrm>
            <a:off x="9038808" y="3048649"/>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1" name="Ellipse 50">
            <a:extLst>
              <a:ext uri="{FF2B5EF4-FFF2-40B4-BE49-F238E27FC236}">
                <a16:creationId xmlns:a16="http://schemas.microsoft.com/office/drawing/2014/main" id="{879975FA-9ACA-8B4E-D7F8-5C70F88FD56A}"/>
              </a:ext>
              <a:ext uri="{C183D7F6-B498-43B3-948B-1728B52AA6E4}">
                <adec:decorative xmlns:adec="http://schemas.microsoft.com/office/drawing/2017/decorative" val="1"/>
              </a:ext>
            </a:extLst>
          </p:cNvPr>
          <p:cNvSpPr/>
          <p:nvPr>
            <p:custDataLst>
              <p:tags r:id="rId49"/>
            </p:custDataLst>
          </p:nvPr>
        </p:nvSpPr>
        <p:spPr>
          <a:xfrm>
            <a:off x="9205670" y="3250543"/>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2" name="Cercle : creux 51">
            <a:extLst>
              <a:ext uri="{FF2B5EF4-FFF2-40B4-BE49-F238E27FC236}">
                <a16:creationId xmlns:a16="http://schemas.microsoft.com/office/drawing/2014/main" id="{6058D165-FCA6-59E9-C32C-0F1C61DC16FD}"/>
              </a:ext>
              <a:ext uri="{C183D7F6-B498-43B3-948B-1728B52AA6E4}">
                <adec:decorative xmlns:adec="http://schemas.microsoft.com/office/drawing/2017/decorative" val="1"/>
              </a:ext>
            </a:extLst>
          </p:cNvPr>
          <p:cNvSpPr/>
          <p:nvPr>
            <p:custDataLst>
              <p:tags r:id="rId50"/>
            </p:custDataLst>
          </p:nvPr>
        </p:nvSpPr>
        <p:spPr>
          <a:xfrm>
            <a:off x="9072388" y="308352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53" name="Connecteur droit 52">
            <a:extLst>
              <a:ext uri="{FF2B5EF4-FFF2-40B4-BE49-F238E27FC236}">
                <a16:creationId xmlns:a16="http://schemas.microsoft.com/office/drawing/2014/main" id="{247E69B8-4C2E-D203-B1A6-289EBF09FF47}"/>
              </a:ext>
              <a:ext uri="{C183D7F6-B498-43B3-948B-1728B52AA6E4}">
                <adec:decorative xmlns:adec="http://schemas.microsoft.com/office/drawing/2017/decorative" val="1"/>
              </a:ext>
            </a:extLst>
          </p:cNvPr>
          <p:cNvCxnSpPr>
            <a:cxnSpLocks/>
          </p:cNvCxnSpPr>
          <p:nvPr>
            <p:custDataLst>
              <p:tags r:id="rId51"/>
            </p:custDataLst>
          </p:nvPr>
        </p:nvCxnSpPr>
        <p:spPr>
          <a:xfrm>
            <a:off x="9389807" y="382600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54" name="Arc 53">
            <a:extLst>
              <a:ext uri="{FF2B5EF4-FFF2-40B4-BE49-F238E27FC236}">
                <a16:creationId xmlns:a16="http://schemas.microsoft.com/office/drawing/2014/main" id="{5E7B02DF-2558-19D5-EC05-27B8F4C6D40F}"/>
              </a:ext>
              <a:ext uri="{C183D7F6-B498-43B3-948B-1728B52AA6E4}">
                <adec:decorative xmlns:adec="http://schemas.microsoft.com/office/drawing/2017/decorative" val="1"/>
              </a:ext>
            </a:extLst>
          </p:cNvPr>
          <p:cNvSpPr/>
          <p:nvPr>
            <p:custDataLst>
              <p:tags r:id="rId52"/>
            </p:custDataLst>
          </p:nvPr>
        </p:nvSpPr>
        <p:spPr>
          <a:xfrm rot="12134810">
            <a:off x="8842639" y="2827373"/>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55" name="Ellipse 54">
            <a:extLst>
              <a:ext uri="{FF2B5EF4-FFF2-40B4-BE49-F238E27FC236}">
                <a16:creationId xmlns:a16="http://schemas.microsoft.com/office/drawing/2014/main" id="{55142A24-5EA0-F55D-51BB-D0DC887A2440}"/>
              </a:ext>
              <a:ext uri="{C183D7F6-B498-43B3-948B-1728B52AA6E4}">
                <adec:decorative xmlns:adec="http://schemas.microsoft.com/office/drawing/2017/decorative" val="1"/>
              </a:ext>
            </a:extLst>
          </p:cNvPr>
          <p:cNvSpPr/>
          <p:nvPr>
            <p:custDataLst>
              <p:tags r:id="rId53"/>
            </p:custDataLst>
          </p:nvPr>
        </p:nvSpPr>
        <p:spPr>
          <a:xfrm>
            <a:off x="9306785" y="484348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56" name="Connecteur droit 55">
            <a:extLst>
              <a:ext uri="{FF2B5EF4-FFF2-40B4-BE49-F238E27FC236}">
                <a16:creationId xmlns:a16="http://schemas.microsoft.com/office/drawing/2014/main" id="{BD62BE99-7E43-F3E2-3AC9-8D1D1B910FE6}"/>
              </a:ext>
              <a:ext uri="{C183D7F6-B498-43B3-948B-1728B52AA6E4}">
                <adec:decorative xmlns:adec="http://schemas.microsoft.com/office/drawing/2017/decorative" val="1"/>
              </a:ext>
            </a:extLst>
          </p:cNvPr>
          <p:cNvCxnSpPr>
            <a:cxnSpLocks/>
            <a:endCxn id="51" idx="2"/>
          </p:cNvCxnSpPr>
          <p:nvPr>
            <p:custDataLst>
              <p:tags r:id="rId54"/>
            </p:custDataLst>
          </p:nvPr>
        </p:nvCxnSpPr>
        <p:spPr>
          <a:xfrm>
            <a:off x="7690339" y="3368238"/>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7" name="Connecteur droit 56">
            <a:extLst>
              <a:ext uri="{FF2B5EF4-FFF2-40B4-BE49-F238E27FC236}">
                <a16:creationId xmlns:a16="http://schemas.microsoft.com/office/drawing/2014/main" id="{69D49AD1-DF40-D8F6-3AEA-DCDBB884942B}"/>
              </a:ext>
              <a:ext uri="{C183D7F6-B498-43B3-948B-1728B52AA6E4}">
                <adec:decorative xmlns:adec="http://schemas.microsoft.com/office/drawing/2017/decorative" val="1"/>
              </a:ext>
            </a:extLst>
          </p:cNvPr>
          <p:cNvCxnSpPr>
            <a:cxnSpLocks/>
          </p:cNvCxnSpPr>
          <p:nvPr>
            <p:custDataLst>
              <p:tags r:id="rId55"/>
            </p:custDataLst>
          </p:nvPr>
        </p:nvCxnSpPr>
        <p:spPr>
          <a:xfrm flipV="1">
            <a:off x="9539095" y="3375648"/>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58" name="Connecteur droit avec flèche 57">
            <a:extLst>
              <a:ext uri="{FF2B5EF4-FFF2-40B4-BE49-F238E27FC236}">
                <a16:creationId xmlns:a16="http://schemas.microsoft.com/office/drawing/2014/main" id="{73A11CBD-27CB-DF5A-70FD-69B0EF2C1262}"/>
              </a:ext>
              <a:ext uri="{C183D7F6-B498-43B3-948B-1728B52AA6E4}">
                <adec:decorative xmlns:adec="http://schemas.microsoft.com/office/drawing/2017/decorative" val="1"/>
              </a:ext>
            </a:extLst>
          </p:cNvPr>
          <p:cNvCxnSpPr>
            <a:cxnSpLocks/>
          </p:cNvCxnSpPr>
          <p:nvPr>
            <p:custDataLst>
              <p:tags r:id="rId56"/>
            </p:custDataLst>
          </p:nvPr>
        </p:nvCxnSpPr>
        <p:spPr>
          <a:xfrm>
            <a:off x="2413255" y="2426849"/>
            <a:ext cx="791061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416905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rochaines étapes</a:t>
            </a:r>
          </a:p>
        </p:txBody>
      </p:sp>
      <p:sp>
        <p:nvSpPr>
          <p:cNvPr id="12" name="TextBox 11">
            <a:extLst>
              <a:ext uri="{FF2B5EF4-FFF2-40B4-BE49-F238E27FC236}">
                <a16:creationId xmlns:a16="http://schemas.microsoft.com/office/drawing/2014/main" id="{49BC1508-1F65-AA39-033E-D60F15B261D2}"/>
              </a:ext>
            </a:extLst>
          </p:cNvPr>
          <p:cNvSpPr txBox="1"/>
          <p:nvPr>
            <p:custDataLst>
              <p:tags r:id="rId3"/>
            </p:custDataLst>
          </p:nvPr>
        </p:nvSpPr>
        <p:spPr>
          <a:xfrm>
            <a:off x="581229" y="1201526"/>
            <a:ext cx="10362388" cy="2031325"/>
          </a:xfrm>
          <a:prstGeom prst="rect">
            <a:avLst/>
          </a:prstGeom>
          <a:noFill/>
        </p:spPr>
        <p:txBody>
          <a:bodyPr wrap="square">
            <a:spAutoFit/>
          </a:bodyPr>
          <a:lstStyle/>
          <a:p>
            <a:pPr marL="285750" indent="-285750">
              <a:buFont typeface="Arial" panose="020B0604020202020204" pitchFamily="34" charset="0"/>
              <a:buChar char="•"/>
            </a:pPr>
            <a:r>
              <a:rPr lang="fr-CA" sz="1800" dirty="0">
                <a:latin typeface="Avenir Next LT Pro" panose="020B0504020202020204" pitchFamily="34" charset="0"/>
              </a:rPr>
              <a:t>Engagement avec </a:t>
            </a:r>
            <a:r>
              <a:rPr lang="fr-CA" dirty="0">
                <a:latin typeface="Avenir Next LT Pro" panose="020B0504020202020204" pitchFamily="34" charset="0"/>
              </a:rPr>
              <a:t>l</a:t>
            </a:r>
            <a:r>
              <a:rPr lang="fr-CA" sz="1800" dirty="0">
                <a:latin typeface="Avenir Next LT Pro" panose="020B0504020202020204" pitchFamily="34" charset="0"/>
              </a:rPr>
              <a:t>es comités et réseaux.</a:t>
            </a:r>
          </a:p>
          <a:p>
            <a:pPr marL="285750" indent="-285750">
              <a:buFont typeface="Arial" panose="020B0604020202020204" pitchFamily="34" charset="0"/>
              <a:buChar char="•"/>
            </a:pPr>
            <a:endParaRPr lang="fr-CA" sz="1800"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Organisation de l’exercice de retrait des biens professionnels et des effets personnels.</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Lancement de nos premiers outils de communication.</a:t>
            </a:r>
          </a:p>
          <a:p>
            <a:pPr marL="285750" indent="-285750">
              <a:buFont typeface="Arial" panose="020B0604020202020204" pitchFamily="34" charset="0"/>
              <a:buChar char="•"/>
            </a:pPr>
            <a:endParaRPr lang="fr-CA" dirty="0">
              <a:latin typeface="Avenir Next LT Pro" panose="020B0504020202020204" pitchFamily="34" charset="0"/>
            </a:endParaRPr>
          </a:p>
          <a:p>
            <a:endParaRPr lang="fr-CA" dirty="0"/>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spTree>
    <p:extLst>
      <p:ext uri="{BB962C8B-B14F-4D97-AF65-F5344CB8AC3E}">
        <p14:creationId xmlns:p14="http://schemas.microsoft.com/office/powerpoint/2010/main" val="32547869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custDataLst>
              <p:tags r:id="rId1"/>
            </p:custDataLst>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4" name="Title 1">
            <a:extLst>
              <a:ext uri="{FF2B5EF4-FFF2-40B4-BE49-F238E27FC236}">
                <a16:creationId xmlns:a16="http://schemas.microsoft.com/office/drawing/2014/main" id="{6E84A27E-2844-316E-6672-1236545BDBDC}"/>
              </a:ext>
            </a:extLst>
          </p:cNvPr>
          <p:cNvSpPr txBox="1">
            <a:spLocks noGrp="1"/>
          </p:cNvSpPr>
          <p:nvPr>
            <p:ph type="title" idx="4294967295"/>
            <p:custDataLst>
              <p:tags r:id="rId2"/>
            </p:custDataLst>
          </p:nvPr>
        </p:nvSpPr>
        <p:spPr>
          <a:xfrm>
            <a:off x="206500" y="36753"/>
            <a:ext cx="656716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estez à l’affût</a:t>
            </a:r>
          </a:p>
        </p:txBody>
      </p:sp>
      <p:pic>
        <p:nvPicPr>
          <p:cNvPr id="3" name="Content Placeholder 10">
            <a:extLst>
              <a:ext uri="{FF2B5EF4-FFF2-40B4-BE49-F238E27FC236}">
                <a16:creationId xmlns:a16="http://schemas.microsoft.com/office/drawing/2014/main" id="{FA486D70-CC58-8A4B-29FE-3602F3FC2401}"/>
              </a:ext>
              <a:ext uri="{C183D7F6-B498-43B3-948B-1728B52AA6E4}">
                <adec:decorative xmlns:adec="http://schemas.microsoft.com/office/drawing/2017/decorative" val="1"/>
              </a:ext>
            </a:extLst>
          </p:cNvPr>
          <p:cNvPicPr>
            <a:picLocks noChangeAspect="1"/>
          </p:cNvPicPr>
          <p:nvPr>
            <p:custDataLst>
              <p:tags r:id="rId3"/>
            </p:custDataLst>
          </p:nvPr>
        </p:nvPicPr>
        <p:blipFill>
          <a:blip r:embed="rId10">
            <a:biLevel thresh="25000"/>
            <a:extLst>
              <a:ext uri="{28A0092B-C50C-407E-A947-70E740481C1C}">
                <a14:useLocalDpi xmlns:a14="http://schemas.microsoft.com/office/drawing/2010/main" val="0"/>
              </a:ext>
            </a:extLst>
          </a:blip>
          <a:srcRect/>
          <a:stretch/>
        </p:blipFill>
        <p:spPr>
          <a:xfrm>
            <a:off x="11529530" y="72265"/>
            <a:ext cx="531869" cy="580758"/>
          </a:xfrm>
          <a:prstGeom prst="rect">
            <a:avLst/>
          </a:prstGeom>
        </p:spPr>
      </p:pic>
      <p:pic>
        <p:nvPicPr>
          <p:cNvPr id="11" name="Graphique 10" descr="Adresse de courrier avec un remplissage uni">
            <a:extLst>
              <a:ext uri="{FF2B5EF4-FFF2-40B4-BE49-F238E27FC236}">
                <a16:creationId xmlns:a16="http://schemas.microsoft.com/office/drawing/2014/main" id="{34E26041-226E-BB54-F354-A606DDC5B170}"/>
              </a:ext>
            </a:extLst>
          </p:cNvPr>
          <p:cNvPicPr>
            <a:picLocks noChangeAspect="1"/>
          </p:cNvPicPr>
          <p:nvPr>
            <p:custDataLst>
              <p:tags r:id="rId4"/>
            </p:custDataLst>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65017" y="1435185"/>
            <a:ext cx="914400" cy="914400"/>
          </a:xfrm>
          <a:prstGeom prst="rect">
            <a:avLst/>
          </a:prstGeom>
        </p:spPr>
      </p:pic>
      <p:sp>
        <p:nvSpPr>
          <p:cNvPr id="12" name="ZoneTexte 11">
            <a:extLst>
              <a:ext uri="{FF2B5EF4-FFF2-40B4-BE49-F238E27FC236}">
                <a16:creationId xmlns:a16="http://schemas.microsoft.com/office/drawing/2014/main" id="{9E7EA0FB-96DA-D309-DAD0-3AA33FFD40BB}"/>
              </a:ext>
            </a:extLst>
          </p:cNvPr>
          <p:cNvSpPr txBox="1"/>
          <p:nvPr>
            <p:custDataLst>
              <p:tags r:id="rId5"/>
            </p:custDataLst>
          </p:nvPr>
        </p:nvSpPr>
        <p:spPr>
          <a:xfrm>
            <a:off x="2047829" y="1795736"/>
            <a:ext cx="6183085" cy="461665"/>
          </a:xfrm>
          <a:prstGeom prst="rect">
            <a:avLst/>
          </a:prstGeom>
          <a:noFill/>
        </p:spPr>
        <p:txBody>
          <a:bodyPr wrap="square" lIns="91440" tIns="45720" rIns="91440" bIns="45720" rtlCol="0" anchor="t">
            <a:spAutoFit/>
          </a:bodyPr>
          <a:lstStyle/>
          <a:p>
            <a:r>
              <a:rPr lang="fr-CA" sz="2400" dirty="0">
                <a:latin typeface="Avenir Next LT Pro"/>
              </a:rPr>
              <a:t>Écrivez-nous à </a:t>
            </a:r>
            <a:r>
              <a:rPr lang="fr-CA" sz="2400" dirty="0">
                <a:highlight>
                  <a:srgbClr val="FFFF00"/>
                </a:highlight>
                <a:latin typeface="Avenir Next LT Pro"/>
              </a:rPr>
              <a:t>(insérez l’adresse courriel)</a:t>
            </a:r>
          </a:p>
        </p:txBody>
      </p:sp>
      <p:pic>
        <p:nvPicPr>
          <p:cNvPr id="6" name="Graphique 5" descr="Internet avec un remplissage uni">
            <a:extLst>
              <a:ext uri="{FF2B5EF4-FFF2-40B4-BE49-F238E27FC236}">
                <a16:creationId xmlns:a16="http://schemas.microsoft.com/office/drawing/2014/main" id="{ECCA0B59-DF14-4002-3BE9-97B46FAEC121}"/>
              </a:ext>
            </a:extLst>
          </p:cNvPr>
          <p:cNvPicPr>
            <a:picLocks noChangeAspect="1"/>
          </p:cNvPicPr>
          <p:nvPr>
            <p:custDataLst>
              <p:tags r:id="rId6"/>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35341F70-17E8-89A5-84EF-DA67A9FDF4D9}"/>
              </a:ext>
            </a:extLst>
          </p:cNvPr>
          <p:cNvSpPr txBox="1"/>
          <p:nvPr>
            <p:custDataLst>
              <p:tags r:id="rId7"/>
            </p:custDataLst>
          </p:nvPr>
        </p:nvSpPr>
        <p:spPr>
          <a:xfrm>
            <a:off x="2134916" y="3044107"/>
            <a:ext cx="8424227" cy="461665"/>
          </a:xfrm>
          <a:prstGeom prst="rect">
            <a:avLst/>
          </a:prstGeom>
          <a:noFill/>
        </p:spPr>
        <p:txBody>
          <a:bodyPr wrap="square" lIns="91440" tIns="45720" rIns="91440" bIns="45720" rtlCol="0" anchor="t">
            <a:spAutoFit/>
          </a:bodyPr>
          <a:lstStyle/>
          <a:p>
            <a:r>
              <a:rPr lang="fr-CA" sz="2400" dirty="0">
                <a:latin typeface="Avenir Next LT Pro"/>
              </a:rPr>
              <a:t>Visitez la page (</a:t>
            </a:r>
            <a:r>
              <a:rPr lang="fr-CA" sz="2400" dirty="0">
                <a:highlight>
                  <a:srgbClr val="FFFF00"/>
                </a:highlight>
                <a:latin typeface="Avenir Next LT Pro"/>
              </a:rPr>
              <a:t>insérez l’hyperlien vers votre intranet)</a:t>
            </a:r>
          </a:p>
        </p:txBody>
      </p:sp>
    </p:spTree>
    <p:extLst>
      <p:ext uri="{BB962C8B-B14F-4D97-AF65-F5344CB8AC3E}">
        <p14:creationId xmlns:p14="http://schemas.microsoft.com/office/powerpoint/2010/main" val="21062715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custDataLst>
              <p:tags r:id="rId1"/>
            </p:custDataLst>
          </p:nvPr>
        </p:nvSpPr>
        <p:spPr>
          <a:xfrm>
            <a:off x="3668358" y="55284"/>
            <a:ext cx="5360535"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fr-FR" i="1" dirty="0">
                <a:solidFill>
                  <a:srgbClr val="C00000"/>
                </a:solidFill>
              </a:rPr>
              <a:t>Directives</a:t>
            </a:r>
            <a:r>
              <a:rPr lang="fr-FR" sz="1800" i="1" dirty="0">
                <a:solidFill>
                  <a:srgbClr val="C00000"/>
                </a:solidFill>
                <a:latin typeface="+mn-lt"/>
              </a:rPr>
              <a:t> - Retirez cette page avant l'utilisation</a:t>
            </a:r>
            <a:endParaRPr lang="en-US" sz="1800" i="1" dirty="0">
              <a:solidFill>
                <a:srgbClr val="C00000"/>
              </a:solidFill>
              <a:latin typeface="+mn-lt"/>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custDataLst>
              <p:tags r:id="rId2"/>
            </p:custDataLst>
          </p:nvPr>
        </p:nvSpPr>
        <p:spPr>
          <a:xfrm>
            <a:off x="251426" y="453574"/>
            <a:ext cx="11175825" cy="642216"/>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fr-CA" sz="3200" dirty="0">
                <a:solidFill>
                  <a:schemeClr val="accent5"/>
                </a:solidFill>
                <a:latin typeface="Arial Rounded MT Bold" panose="020F0704030504030204" pitchFamily="34" charset="0"/>
              </a:rPr>
              <a:t>Comment utiliser ce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custDataLst>
              <p:tags r:id="rId3"/>
            </p:custDataLst>
          </p:nvPr>
        </p:nvSpPr>
        <p:spPr>
          <a:xfrm>
            <a:off x="535511" y="1352416"/>
            <a:ext cx="11511593" cy="5262979"/>
          </a:xfrm>
          <a:prstGeom prst="rect">
            <a:avLst/>
          </a:prstGeom>
          <a:solidFill>
            <a:schemeClr val="accent5">
              <a:lumMod val="20000"/>
              <a:lumOff val="80000"/>
            </a:schemeClr>
          </a:solidFill>
        </p:spPr>
        <p:txBody>
          <a:bodyPr wrap="square">
            <a:spAutoFit/>
          </a:bodyPr>
          <a:lstStyle/>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DESTINATAIRE : </a:t>
            </a: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vise à fair</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e l’annonce du projet d’optimisation à l’ensemble du personnel. Il s’agit d’une présentation qui pourrait s’insérer dans l’ordre du jour d’une réunion du personnel ou comme session d’information dont le projet est l’unique sujet traité. </a:t>
            </a:r>
            <a:endPar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QUAND :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se tient assez tôt dans le projet, une fois que les principaux acteurs sont déterminés, soit lorsque le parrainage et les membres clés de l’équipe de projet sont nommés.</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l est important que cet événement se tienne rapidement après les activités d’engagement auprès des cadres et des gestionnaires, soit 48 à 72 heures après, pour éviter que l’information ne soit diffusée informellement. Assurez-vous que les cadres et gestionnaires ont reçu la FAQ et ont pu se familiariser avec son contenu avant l’événement.</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Vous devez tout d’abord personnaliser et adapter la présentation à la réalité de votre organisation. Insérez des exemples réels et des situations inspirées de la façon dont travaille de comment travaille le personnel de votre organisation. </a:t>
            </a:r>
          </a:p>
          <a:p>
            <a:pPr algn="just">
              <a:spcAft>
                <a:spcPts val="1200"/>
              </a:spcAft>
            </a:pP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Inspirez-vous de la section des notes pour préparer les notes d’allocutions de la présentation.</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Les</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 parrains exécutifs et de projet devraient animer conjointement cette séance.</a:t>
            </a:r>
          </a:p>
          <a:p>
            <a:pPr algn="just">
              <a:spcAft>
                <a:spcPts val="1200"/>
              </a:spcAft>
            </a:pPr>
            <a:r>
              <a:rPr lang="fr-CA" sz="16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Pré</a:t>
            </a:r>
            <a:r>
              <a:rPr lang="fr-CA" sz="1600" dirty="0">
                <a:latin typeface="Calibri Light" panose="020F0302020204030204" pitchFamily="34" charset="0"/>
                <a:ea typeface="Calibri Light" panose="020F0302020204030204" pitchFamily="34" charset="0"/>
                <a:cs typeface="Calibri Light" panose="020F0302020204030204" pitchFamily="34" charset="0"/>
                <a:sym typeface="Calibri"/>
              </a:rPr>
              <a:t>voyez du temps pour une période de questions. Évitez les plateformes anonymes et visibles à tous (comme sli.do) pour celles-ci, cela pourrait distraire du sujet à l’ordre du jour.</a:t>
            </a:r>
            <a:endParaRPr lang="fr-CA" sz="1600" dirty="0">
              <a:solidFill>
                <a:srgbClr val="FF0000"/>
              </a:solidFill>
              <a:effectLst/>
              <a:latin typeface="Calibri Light" panose="020F0302020204030204" pitchFamily="34" charset="0"/>
              <a:ea typeface="Calibri" panose="020F0502020204030204" pitchFamily="34" charset="0"/>
            </a:endParaRPr>
          </a:p>
          <a:p>
            <a:pPr algn="just">
              <a:spcAft>
                <a:spcPts val="1200"/>
              </a:spcAft>
            </a:pPr>
            <a:r>
              <a:rPr lang="fr-CA" sz="1600" i="1" dirty="0">
                <a:solidFill>
                  <a:srgbClr val="C00000"/>
                </a:solidFill>
                <a:effectLst/>
                <a:latin typeface="Calibri Light" panose="020F0302020204030204" pitchFamily="34" charset="0"/>
                <a:ea typeface="Calibri" panose="020F0502020204030204" pitchFamily="34" charset="0"/>
              </a:rPr>
              <a:t>La version anglaise de ce document est </a:t>
            </a:r>
            <a:r>
              <a:rPr lang="fr-CA" sz="1600" i="1" dirty="0">
                <a:solidFill>
                  <a:srgbClr val="C00000"/>
                </a:solidFill>
                <a:latin typeface="Calibri Light" panose="020F0302020204030204" pitchFamily="34" charset="0"/>
                <a:ea typeface="Calibri" panose="020F0502020204030204" pitchFamily="34" charset="0"/>
              </a:rPr>
              <a:t>accessible</a:t>
            </a:r>
            <a:r>
              <a:rPr lang="fr-CA" sz="1600" i="1" dirty="0">
                <a:solidFill>
                  <a:srgbClr val="C00000"/>
                </a:solidFill>
                <a:effectLst/>
                <a:latin typeface="Calibri Light" panose="020F0302020204030204" pitchFamily="34" charset="0"/>
                <a:ea typeface="Calibri" panose="020F0502020204030204" pitchFamily="34" charset="0"/>
              </a:rPr>
              <a:t> ici : </a:t>
            </a:r>
            <a:r>
              <a:rPr lang="fr-CA" sz="1600" i="1" dirty="0">
                <a:solidFill>
                  <a:srgbClr val="C00000"/>
                </a:solidFill>
                <a:effectLst/>
                <a:highlight>
                  <a:srgbClr val="FFFF00"/>
                </a:highlight>
                <a:latin typeface="Calibri Light" panose="020F0302020204030204" pitchFamily="34" charset="0"/>
                <a:ea typeface="Calibri" panose="020F0502020204030204" pitchFamily="34" charset="0"/>
              </a:rPr>
              <a:t>EN version</a:t>
            </a:r>
            <a:endParaRPr lang="fr-CA" sz="1600"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éroulement</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323987"/>
          </a:xfrm>
          <a:prstGeom prst="rect">
            <a:avLst/>
          </a:prstGeom>
          <a:noFill/>
        </p:spPr>
        <p:txBody>
          <a:bodyPr wrap="square">
            <a:spAutoFit/>
          </a:bodyPr>
          <a:lstStyle/>
          <a:p>
            <a:pPr marL="285750" indent="-285750">
              <a:lnSpc>
                <a:spcPct val="200000"/>
              </a:lnSpc>
              <a:buFont typeface="Arial" panose="020B0604020202020204" pitchFamily="34" charset="0"/>
              <a:buChar char="•"/>
            </a:pPr>
            <a:r>
              <a:rPr lang="fr-CA" sz="2400" dirty="0">
                <a:latin typeface="Avenir Next LT Pro" panose="020B0504020202020204" pitchFamily="34" charset="0"/>
              </a:rPr>
              <a:t>Context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Notre projet d’optimisation</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De nouvelles façons d’utiliser l’espace</a:t>
            </a:r>
          </a:p>
          <a:p>
            <a:pPr marL="285750" indent="-285750">
              <a:lnSpc>
                <a:spcPct val="200000"/>
              </a:lnSpc>
              <a:buFont typeface="Arial" panose="020B0604020202020204" pitchFamily="34" charset="0"/>
              <a:buChar char="•"/>
            </a:pPr>
            <a:r>
              <a:rPr lang="fr-CA" sz="2400" dirty="0">
                <a:latin typeface="Avenir Next LT Pro" panose="020B0504020202020204" pitchFamily="34" charset="0"/>
              </a:rPr>
              <a:t>Échéanciers et prochaines étapes</a:t>
            </a:r>
          </a:p>
          <a:p>
            <a:r>
              <a:rPr lang="fr-CA" sz="1800" dirty="0">
                <a:latin typeface="Avenir Next LT Pro" panose="020B0504020202020204" pitchFamily="34" charset="0"/>
              </a:rPr>
              <a:t> </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630006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7028C89E-7266-12B8-5E10-8C399FCFA7CF}"/>
              </a:ext>
              <a:ext uri="{C183D7F6-B498-43B3-948B-1728B52AA6E4}">
                <adec:decorative xmlns:adec="http://schemas.microsoft.com/office/drawing/2017/decorative" val="1"/>
              </a:ext>
            </a:extLst>
          </p:cNvPr>
          <p:cNvSpPr/>
          <p:nvPr>
            <p:custDataLst>
              <p:tags r:id="rId1"/>
            </p:custDataLst>
          </p:nvPr>
        </p:nvSpPr>
        <p:spPr>
          <a:xfrm>
            <a:off x="-896" y="-2575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7142"/>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ontexte : Budget 2024</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305924" y="1093352"/>
            <a:ext cx="10995349" cy="369332"/>
          </a:xfrm>
          <a:prstGeom prst="rect">
            <a:avLst/>
          </a:prstGeom>
          <a:noFill/>
        </p:spPr>
        <p:txBody>
          <a:bodyPr wrap="square" lIns="91440" tIns="45720" rIns="91440" bIns="45720" anchor="t">
            <a:spAutoFit/>
          </a:bodyPr>
          <a:lstStyle/>
          <a:p>
            <a:r>
              <a:rPr lang="fr-CA" sz="1800" dirty="0">
                <a:latin typeface="Avenir Next LT Pro"/>
              </a:rPr>
              <a:t>Le </a:t>
            </a:r>
            <a:r>
              <a:rPr lang="fr-CA" dirty="0">
                <a:latin typeface="Avenir Next LT Pro"/>
              </a:rPr>
              <a:t>g</a:t>
            </a:r>
            <a:r>
              <a:rPr lang="fr-CA" sz="1800" dirty="0">
                <a:latin typeface="Avenir Next LT Pro"/>
              </a:rPr>
              <a:t>ouvernement du Canada a annoncé qu’il réduira son </a:t>
            </a:r>
            <a:r>
              <a:rPr lang="fr-CA" sz="1800" b="1" dirty="0">
                <a:latin typeface="Avenir Next LT Pro"/>
              </a:rPr>
              <a:t>portefeuille d’immeubles </a:t>
            </a:r>
            <a:r>
              <a:rPr lang="fr-CA" b="1" dirty="0">
                <a:latin typeface="Avenir Next LT Pro"/>
              </a:rPr>
              <a:t>à </a:t>
            </a:r>
            <a:r>
              <a:rPr lang="fr-CA" sz="1800" b="1" dirty="0">
                <a:latin typeface="Avenir Next LT Pro"/>
              </a:rPr>
              <a:t>bureaux</a:t>
            </a:r>
            <a:r>
              <a:rPr lang="fr-CA" sz="1800" dirty="0">
                <a:latin typeface="Avenir Next LT Pro"/>
              </a:rPr>
              <a:t>.  </a:t>
            </a:r>
            <a:endParaRPr lang="fr-CA" dirty="0">
              <a:latin typeface="Avenir Next LT Pro"/>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1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Rectangle : coins arrondis 5" descr="50% sur 10ans">
            <a:extLst>
              <a:ext uri="{FF2B5EF4-FFF2-40B4-BE49-F238E27FC236}">
                <a16:creationId xmlns:a16="http://schemas.microsoft.com/office/drawing/2014/main" id="{C37AB966-CDBE-2C55-3F98-CA62BB152F01}"/>
              </a:ext>
            </a:extLst>
          </p:cNvPr>
          <p:cNvSpPr/>
          <p:nvPr>
            <p:custDataLst>
              <p:tags r:id="rId5"/>
            </p:custDataLst>
          </p:nvPr>
        </p:nvSpPr>
        <p:spPr>
          <a:xfrm>
            <a:off x="2197224" y="1899314"/>
            <a:ext cx="1784412" cy="1615736"/>
          </a:xfrm>
          <a:prstGeom prst="roundRect">
            <a:avLst/>
          </a:prstGeom>
          <a:solidFill>
            <a:schemeClr val="accent1">
              <a:lumMod val="75000"/>
            </a:schemeClr>
          </a:solidFill>
          <a:ln>
            <a:no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fr-CA" dirty="0"/>
          </a:p>
        </p:txBody>
      </p:sp>
      <p:sp>
        <p:nvSpPr>
          <p:cNvPr id="7" name="Flèche : bas 6">
            <a:extLst>
              <a:ext uri="{FF2B5EF4-FFF2-40B4-BE49-F238E27FC236}">
                <a16:creationId xmlns:a16="http://schemas.microsoft.com/office/drawing/2014/main" id="{C62EB4E4-F735-AD30-5AD4-F4E6B822F95C}"/>
              </a:ext>
              <a:ext uri="{C183D7F6-B498-43B3-948B-1728B52AA6E4}">
                <adec:decorative xmlns:adec="http://schemas.microsoft.com/office/drawing/2017/decorative" val="1"/>
              </a:ext>
            </a:extLst>
          </p:cNvPr>
          <p:cNvSpPr/>
          <p:nvPr>
            <p:custDataLst>
              <p:tags r:id="rId6"/>
            </p:custDataLst>
          </p:nvPr>
        </p:nvSpPr>
        <p:spPr>
          <a:xfrm>
            <a:off x="2414727" y="2126777"/>
            <a:ext cx="381740" cy="754602"/>
          </a:xfrm>
          <a:prstGeom prst="down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8" name="ZoneTexte 7">
            <a:extLst>
              <a:ext uri="{FF2B5EF4-FFF2-40B4-BE49-F238E27FC236}">
                <a16:creationId xmlns:a16="http://schemas.microsoft.com/office/drawing/2014/main" id="{44BC3EAC-3980-4F07-943B-6EC20B7A7BDE}"/>
              </a:ext>
            </a:extLst>
          </p:cNvPr>
          <p:cNvSpPr txBox="1"/>
          <p:nvPr>
            <p:custDataLst>
              <p:tags r:id="rId7"/>
            </p:custDataLst>
          </p:nvPr>
        </p:nvSpPr>
        <p:spPr>
          <a:xfrm>
            <a:off x="2796468" y="2211690"/>
            <a:ext cx="1233996" cy="584775"/>
          </a:xfrm>
          <a:prstGeom prst="rect">
            <a:avLst/>
          </a:prstGeom>
          <a:noFill/>
          <a:ln>
            <a:noFill/>
          </a:ln>
        </p:spPr>
        <p:txBody>
          <a:bodyPr wrap="square" rtlCol="0">
            <a:spAutoFit/>
          </a:bodyPr>
          <a:lstStyle/>
          <a:p>
            <a:r>
              <a:rPr lang="fr-CA" sz="32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50 %</a:t>
            </a:r>
          </a:p>
        </p:txBody>
      </p:sp>
      <p:sp>
        <p:nvSpPr>
          <p:cNvPr id="9" name="ZoneTexte 8">
            <a:extLst>
              <a:ext uri="{FF2B5EF4-FFF2-40B4-BE49-F238E27FC236}">
                <a16:creationId xmlns:a16="http://schemas.microsoft.com/office/drawing/2014/main" id="{AAE94596-646F-19F0-2DAB-4EB93FB2F7D0}"/>
              </a:ext>
            </a:extLst>
          </p:cNvPr>
          <p:cNvSpPr txBox="1"/>
          <p:nvPr>
            <p:custDataLst>
              <p:tags r:id="rId8"/>
            </p:custDataLst>
          </p:nvPr>
        </p:nvSpPr>
        <p:spPr>
          <a:xfrm>
            <a:off x="2360989" y="3005829"/>
            <a:ext cx="1491448" cy="369332"/>
          </a:xfrm>
          <a:prstGeom prst="rect">
            <a:avLst/>
          </a:prstGeom>
          <a:noFill/>
        </p:spPr>
        <p:txBody>
          <a:bodyPr wrap="square" rtlCol="0">
            <a:spAutoFit/>
          </a:bodyPr>
          <a:lstStyle/>
          <a:p>
            <a:r>
              <a:rPr lang="fr-CA" b="1" dirty="0">
                <a:solidFill>
                  <a:schemeClr val="bg1"/>
                </a:solidFill>
              </a:rPr>
              <a:t>Sur 10 ans</a:t>
            </a:r>
          </a:p>
        </p:txBody>
      </p:sp>
      <p:sp>
        <p:nvSpPr>
          <p:cNvPr id="10" name="Flèche : droite 9">
            <a:extLst>
              <a:ext uri="{FF2B5EF4-FFF2-40B4-BE49-F238E27FC236}">
                <a16:creationId xmlns:a16="http://schemas.microsoft.com/office/drawing/2014/main" id="{DB8B833A-09AE-E2B0-B009-6B66BB533DDE}"/>
              </a:ext>
              <a:ext uri="{C183D7F6-B498-43B3-948B-1728B52AA6E4}">
                <adec:decorative xmlns:adec="http://schemas.microsoft.com/office/drawing/2017/decorative" val="1"/>
              </a:ext>
            </a:extLst>
          </p:cNvPr>
          <p:cNvSpPr/>
          <p:nvPr>
            <p:custDataLst>
              <p:tags r:id="rId9"/>
            </p:custDataLst>
          </p:nvPr>
        </p:nvSpPr>
        <p:spPr>
          <a:xfrm>
            <a:off x="4474345" y="2557920"/>
            <a:ext cx="1926455" cy="461639"/>
          </a:xfrm>
          <a:prstGeom prst="rightArrow">
            <a:avLst/>
          </a:prstGeom>
          <a:solidFill>
            <a:schemeClr val="bg1"/>
          </a:solidFill>
          <a:ln>
            <a:solidFill>
              <a:srgbClr val="40978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0" name="ZoneTexte 69">
            <a:extLst>
              <a:ext uri="{FF2B5EF4-FFF2-40B4-BE49-F238E27FC236}">
                <a16:creationId xmlns:a16="http://schemas.microsoft.com/office/drawing/2014/main" id="{48FE0CE4-8128-A030-4177-E94AA3CC9B94}"/>
              </a:ext>
            </a:extLst>
          </p:cNvPr>
          <p:cNvSpPr txBox="1"/>
          <p:nvPr>
            <p:custDataLst>
              <p:tags r:id="rId10"/>
            </p:custDataLst>
          </p:nvPr>
        </p:nvSpPr>
        <p:spPr>
          <a:xfrm>
            <a:off x="5848906" y="3489940"/>
            <a:ext cx="4722920" cy="338554"/>
          </a:xfrm>
          <a:prstGeom prst="rect">
            <a:avLst/>
          </a:prstGeom>
          <a:noFill/>
        </p:spPr>
        <p:txBody>
          <a:bodyPr wrap="square" rtlCol="0">
            <a:spAutoFit/>
          </a:bodyPr>
          <a:lstStyle/>
          <a:p>
            <a:pPr algn="ctr"/>
            <a:r>
              <a:rPr lang="fr-CA" sz="1600" dirty="0"/>
              <a:t>Logement et autres priorités communautaires</a:t>
            </a:r>
          </a:p>
        </p:txBody>
      </p:sp>
      <p:sp>
        <p:nvSpPr>
          <p:cNvPr id="12" name="ZoneTexte 11">
            <a:extLst>
              <a:ext uri="{FF2B5EF4-FFF2-40B4-BE49-F238E27FC236}">
                <a16:creationId xmlns:a16="http://schemas.microsoft.com/office/drawing/2014/main" id="{6A3B9CD2-AFBF-BEF4-7CE5-AED963949FAC}"/>
              </a:ext>
            </a:extLst>
          </p:cNvPr>
          <p:cNvSpPr txBox="1"/>
          <p:nvPr>
            <p:custDataLst>
              <p:tags r:id="rId11"/>
            </p:custDataLst>
          </p:nvPr>
        </p:nvSpPr>
        <p:spPr>
          <a:xfrm>
            <a:off x="512507" y="4061536"/>
            <a:ext cx="10333608" cy="1754326"/>
          </a:xfrm>
          <a:prstGeom prst="rect">
            <a:avLst/>
          </a:prstGeom>
          <a:noFill/>
        </p:spPr>
        <p:txBody>
          <a:bodyPr wrap="square" lIns="91440" tIns="45720" rIns="91440" bIns="45720" anchor="t">
            <a:spAutoFit/>
          </a:bodyPr>
          <a:lstStyle/>
          <a:p>
            <a:r>
              <a:rPr lang="fr-CA" dirty="0">
                <a:latin typeface="Avenir Next LT Pro"/>
              </a:rPr>
              <a:t>Pour que le gouvernement puisse optimiser son portefeuille d’immeubles à bureaux tout en appuyant les priorités communautaires et en matière de logement, les ministères et agences doivent modifier leurs façons de faire et d’utiliser l’espace notamment en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Adoptant un modèle de travail hybride.</a:t>
            </a:r>
          </a:p>
          <a:p>
            <a:pPr marL="285750" indent="-285750">
              <a:buFont typeface="Arial" panose="020B0604020202020204" pitchFamily="34" charset="0"/>
              <a:buChar char="•"/>
            </a:pPr>
            <a:r>
              <a:rPr lang="fr-CA" dirty="0">
                <a:latin typeface="Avenir Next LT Pro" panose="020B0504020202020204" pitchFamily="34" charset="0"/>
              </a:rPr>
              <a:t>Faisant la transition vers des postes de travail non attribués par défaut.</a:t>
            </a:r>
          </a:p>
        </p:txBody>
      </p:sp>
      <p:grpSp>
        <p:nvGrpSpPr>
          <p:cNvPr id="15" name="Google Shape;1309;p104">
            <a:extLst>
              <a:ext uri="{FF2B5EF4-FFF2-40B4-BE49-F238E27FC236}">
                <a16:creationId xmlns:a16="http://schemas.microsoft.com/office/drawing/2014/main" id="{8DA5BD1B-687F-A8E9-DD81-60E314CBA84F}"/>
              </a:ext>
              <a:ext uri="{C183D7F6-B498-43B3-948B-1728B52AA6E4}">
                <adec:decorative xmlns:adec="http://schemas.microsoft.com/office/drawing/2017/decorative" val="1"/>
              </a:ext>
            </a:extLst>
          </p:cNvPr>
          <p:cNvGrpSpPr/>
          <p:nvPr>
            <p:custDataLst>
              <p:tags r:id="rId12"/>
            </p:custDataLst>
          </p:nvPr>
        </p:nvGrpSpPr>
        <p:grpSpPr>
          <a:xfrm>
            <a:off x="7175842" y="1847516"/>
            <a:ext cx="1337152" cy="1551210"/>
            <a:chOff x="7398008" y="2595759"/>
            <a:chExt cx="1871109" cy="2456352"/>
          </a:xfrm>
        </p:grpSpPr>
        <p:grpSp>
          <p:nvGrpSpPr>
            <p:cNvPr id="20" name="Google Shape;1310;p104">
              <a:extLst>
                <a:ext uri="{FF2B5EF4-FFF2-40B4-BE49-F238E27FC236}">
                  <a16:creationId xmlns:a16="http://schemas.microsoft.com/office/drawing/2014/main" id="{54E522D1-3F15-F04A-701F-5DBD60C54904}"/>
                </a:ext>
              </a:extLst>
            </p:cNvPr>
            <p:cNvGrpSpPr/>
            <p:nvPr/>
          </p:nvGrpSpPr>
          <p:grpSpPr>
            <a:xfrm>
              <a:off x="7398008" y="2595759"/>
              <a:ext cx="1871109" cy="2456352"/>
              <a:chOff x="7397720" y="2595653"/>
              <a:chExt cx="2188176" cy="2872590"/>
            </a:xfrm>
          </p:grpSpPr>
          <p:grpSp>
            <p:nvGrpSpPr>
              <p:cNvPr id="23" name="Google Shape;1311;p104">
                <a:extLst>
                  <a:ext uri="{FF2B5EF4-FFF2-40B4-BE49-F238E27FC236}">
                    <a16:creationId xmlns:a16="http://schemas.microsoft.com/office/drawing/2014/main" id="{B8E6D17F-0D88-177F-E5AD-B28E2F12C9BC}"/>
                  </a:ext>
                </a:extLst>
              </p:cNvPr>
              <p:cNvGrpSpPr/>
              <p:nvPr/>
            </p:nvGrpSpPr>
            <p:grpSpPr>
              <a:xfrm>
                <a:off x="7397720" y="2595653"/>
                <a:ext cx="2188176" cy="2857332"/>
                <a:chOff x="3782854" y="2244933"/>
                <a:chExt cx="2722628" cy="3555222"/>
              </a:xfrm>
            </p:grpSpPr>
            <p:sp>
              <p:nvSpPr>
                <p:cNvPr id="29" name="Google Shape;1312;p104">
                  <a:extLst>
                    <a:ext uri="{FF2B5EF4-FFF2-40B4-BE49-F238E27FC236}">
                      <a16:creationId xmlns:a16="http://schemas.microsoft.com/office/drawing/2014/main" id="{A0E6025E-4C39-C492-A915-0923EEAF50C3}"/>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 name="Google Shape;1313;p104">
                  <a:extLst>
                    <a:ext uri="{FF2B5EF4-FFF2-40B4-BE49-F238E27FC236}">
                      <a16:creationId xmlns:a16="http://schemas.microsoft.com/office/drawing/2014/main" id="{AAAE6B21-C3F0-6199-D232-26038649B81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 name="Google Shape;1314;p104">
                  <a:extLst>
                    <a:ext uri="{FF2B5EF4-FFF2-40B4-BE49-F238E27FC236}">
                      <a16:creationId xmlns:a16="http://schemas.microsoft.com/office/drawing/2014/main" id="{89E509A3-75F3-8F87-9867-A8DE1833F31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15;p104">
                  <a:extLst>
                    <a:ext uri="{FF2B5EF4-FFF2-40B4-BE49-F238E27FC236}">
                      <a16:creationId xmlns:a16="http://schemas.microsoft.com/office/drawing/2014/main" id="{ECF0CEEC-AB10-73F8-FF53-285777A5B406}"/>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16;p104">
                  <a:extLst>
                    <a:ext uri="{FF2B5EF4-FFF2-40B4-BE49-F238E27FC236}">
                      <a16:creationId xmlns:a16="http://schemas.microsoft.com/office/drawing/2014/main" id="{0FCF7426-61A4-CE77-0571-2803ED7E58A4}"/>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17;p104">
                  <a:extLst>
                    <a:ext uri="{FF2B5EF4-FFF2-40B4-BE49-F238E27FC236}">
                      <a16:creationId xmlns:a16="http://schemas.microsoft.com/office/drawing/2014/main" id="{FA3BA803-3597-2254-D69E-CD3D12F6567E}"/>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18;p104">
                  <a:extLst>
                    <a:ext uri="{FF2B5EF4-FFF2-40B4-BE49-F238E27FC236}">
                      <a16:creationId xmlns:a16="http://schemas.microsoft.com/office/drawing/2014/main" id="{93B4F391-5FE1-2DEB-CFAE-4D5EDFFA556E}"/>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04;p104">
                  <a:extLst>
                    <a:ext uri="{FF2B5EF4-FFF2-40B4-BE49-F238E27FC236}">
                      <a16:creationId xmlns:a16="http://schemas.microsoft.com/office/drawing/2014/main" id="{59532803-71DA-1110-F913-BCDFFF195AA2}"/>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19;p104">
                  <a:extLst>
                    <a:ext uri="{FF2B5EF4-FFF2-40B4-BE49-F238E27FC236}">
                      <a16:creationId xmlns:a16="http://schemas.microsoft.com/office/drawing/2014/main" id="{94A45180-175A-1288-BEF0-14A28278F207}"/>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8" name="Google Shape;1320;p104">
                  <a:extLst>
                    <a:ext uri="{FF2B5EF4-FFF2-40B4-BE49-F238E27FC236}">
                      <a16:creationId xmlns:a16="http://schemas.microsoft.com/office/drawing/2014/main" id="{F54DE717-ED71-3083-7314-4CD9D1EEF68D}"/>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21;p104">
                  <a:extLst>
                    <a:ext uri="{FF2B5EF4-FFF2-40B4-BE49-F238E27FC236}">
                      <a16:creationId xmlns:a16="http://schemas.microsoft.com/office/drawing/2014/main" id="{0A9CADB0-5230-F233-24FF-594559B7912B}"/>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22;p104">
                  <a:extLst>
                    <a:ext uri="{FF2B5EF4-FFF2-40B4-BE49-F238E27FC236}">
                      <a16:creationId xmlns:a16="http://schemas.microsoft.com/office/drawing/2014/main" id="{1B407058-991F-EA26-99EE-3547CE642656}"/>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297;p104">
                  <a:extLst>
                    <a:ext uri="{FF2B5EF4-FFF2-40B4-BE49-F238E27FC236}">
                      <a16:creationId xmlns:a16="http://schemas.microsoft.com/office/drawing/2014/main" id="{E9EE14A2-571E-EE6E-80E4-9E70EE820063}"/>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23;p104">
                  <a:extLst>
                    <a:ext uri="{FF2B5EF4-FFF2-40B4-BE49-F238E27FC236}">
                      <a16:creationId xmlns:a16="http://schemas.microsoft.com/office/drawing/2014/main" id="{DA1B0F08-AC42-81A8-48B4-A009F9707157}"/>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24;p104">
                  <a:extLst>
                    <a:ext uri="{FF2B5EF4-FFF2-40B4-BE49-F238E27FC236}">
                      <a16:creationId xmlns:a16="http://schemas.microsoft.com/office/drawing/2014/main" id="{06E350D4-531C-9E88-E71B-AD07ED026359}"/>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25;p104">
                  <a:extLst>
                    <a:ext uri="{FF2B5EF4-FFF2-40B4-BE49-F238E27FC236}">
                      <a16:creationId xmlns:a16="http://schemas.microsoft.com/office/drawing/2014/main" id="{E1A37DB1-37E6-480D-F6A3-4B4B43F9EED5}"/>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26;p104">
                  <a:extLst>
                    <a:ext uri="{FF2B5EF4-FFF2-40B4-BE49-F238E27FC236}">
                      <a16:creationId xmlns:a16="http://schemas.microsoft.com/office/drawing/2014/main" id="{4B8B2B05-931F-4821-C654-43809A0C6398}"/>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6" name="Google Shape;1327;p104">
                  <a:extLst>
                    <a:ext uri="{FF2B5EF4-FFF2-40B4-BE49-F238E27FC236}">
                      <a16:creationId xmlns:a16="http://schemas.microsoft.com/office/drawing/2014/main" id="{E05CDB04-758F-A16E-0C7C-81482A944D84}"/>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28;p104">
                  <a:extLst>
                    <a:ext uri="{FF2B5EF4-FFF2-40B4-BE49-F238E27FC236}">
                      <a16:creationId xmlns:a16="http://schemas.microsoft.com/office/drawing/2014/main" id="{41D15CB2-0185-C50E-B34A-7DC9BAFEC86E}"/>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8" name="Google Shape;1329;p104">
                  <a:extLst>
                    <a:ext uri="{FF2B5EF4-FFF2-40B4-BE49-F238E27FC236}">
                      <a16:creationId xmlns:a16="http://schemas.microsoft.com/office/drawing/2014/main" id="{75E7B4C9-F60F-E60D-1203-37883966A6FD}"/>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9" name="Google Shape;1330;p104">
                  <a:extLst>
                    <a:ext uri="{FF2B5EF4-FFF2-40B4-BE49-F238E27FC236}">
                      <a16:creationId xmlns:a16="http://schemas.microsoft.com/office/drawing/2014/main" id="{467CA39C-152F-D143-16E6-F0AEBF1F0EF6}"/>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0" name="Google Shape;1331;p104">
                  <a:extLst>
                    <a:ext uri="{FF2B5EF4-FFF2-40B4-BE49-F238E27FC236}">
                      <a16:creationId xmlns:a16="http://schemas.microsoft.com/office/drawing/2014/main" id="{169AFF5D-67CE-AA9F-C71D-910F3D59E065}"/>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32;p104">
                  <a:extLst>
                    <a:ext uri="{FF2B5EF4-FFF2-40B4-BE49-F238E27FC236}">
                      <a16:creationId xmlns:a16="http://schemas.microsoft.com/office/drawing/2014/main" id="{17644F83-71B6-9560-AF3E-09A8872C809B}"/>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33;p104">
                  <a:extLst>
                    <a:ext uri="{FF2B5EF4-FFF2-40B4-BE49-F238E27FC236}">
                      <a16:creationId xmlns:a16="http://schemas.microsoft.com/office/drawing/2014/main" id="{D9375901-672F-F732-57F8-D153D824344D}"/>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3" name="Google Shape;1334;p104">
                  <a:extLst>
                    <a:ext uri="{FF2B5EF4-FFF2-40B4-BE49-F238E27FC236}">
                      <a16:creationId xmlns:a16="http://schemas.microsoft.com/office/drawing/2014/main" id="{B9F6722B-6928-3A6A-BBB8-231A8B9E3259}"/>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35;p104">
                  <a:extLst>
                    <a:ext uri="{FF2B5EF4-FFF2-40B4-BE49-F238E27FC236}">
                      <a16:creationId xmlns:a16="http://schemas.microsoft.com/office/drawing/2014/main" id="{15F08EEC-C863-3F61-556F-64BE7ED3159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36;p104">
                  <a:extLst>
                    <a:ext uri="{FF2B5EF4-FFF2-40B4-BE49-F238E27FC236}">
                      <a16:creationId xmlns:a16="http://schemas.microsoft.com/office/drawing/2014/main" id="{731C5ADA-D8AA-6942-B963-257CD97AA0F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6" name="Google Shape;1337;p104">
                  <a:extLst>
                    <a:ext uri="{FF2B5EF4-FFF2-40B4-BE49-F238E27FC236}">
                      <a16:creationId xmlns:a16="http://schemas.microsoft.com/office/drawing/2014/main" id="{6C95EF8D-478B-B864-D6F8-128D10DBE16A}"/>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7" name="Google Shape;1338;p104">
                  <a:extLst>
                    <a:ext uri="{FF2B5EF4-FFF2-40B4-BE49-F238E27FC236}">
                      <a16:creationId xmlns:a16="http://schemas.microsoft.com/office/drawing/2014/main" id="{816207AB-4332-E282-4740-48B60179E40B}"/>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39;p104">
                  <a:extLst>
                    <a:ext uri="{FF2B5EF4-FFF2-40B4-BE49-F238E27FC236}">
                      <a16:creationId xmlns:a16="http://schemas.microsoft.com/office/drawing/2014/main" id="{DCF93223-AC8F-F71A-B2CD-96C59C41CF86}"/>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9" name="Google Shape;1340;p104">
                  <a:extLst>
                    <a:ext uri="{FF2B5EF4-FFF2-40B4-BE49-F238E27FC236}">
                      <a16:creationId xmlns:a16="http://schemas.microsoft.com/office/drawing/2014/main" id="{EA713421-7FA7-25D0-032C-C974F1F3841F}"/>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0" name="Google Shape;1341;p104">
                  <a:extLst>
                    <a:ext uri="{FF2B5EF4-FFF2-40B4-BE49-F238E27FC236}">
                      <a16:creationId xmlns:a16="http://schemas.microsoft.com/office/drawing/2014/main" id="{8A37BC0E-C32F-FF48-941E-D60AD0227F5D}"/>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1" name="Google Shape;1342;p104">
                  <a:extLst>
                    <a:ext uri="{FF2B5EF4-FFF2-40B4-BE49-F238E27FC236}">
                      <a16:creationId xmlns:a16="http://schemas.microsoft.com/office/drawing/2014/main" id="{3CC2548D-A9D4-809D-5138-69D680046072}"/>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2" name="Google Shape;1343;p104">
                  <a:extLst>
                    <a:ext uri="{FF2B5EF4-FFF2-40B4-BE49-F238E27FC236}">
                      <a16:creationId xmlns:a16="http://schemas.microsoft.com/office/drawing/2014/main" id="{308C2919-034B-E990-F46C-54F7529BB2C5}"/>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3" name="Google Shape;1344;p104">
                  <a:extLst>
                    <a:ext uri="{FF2B5EF4-FFF2-40B4-BE49-F238E27FC236}">
                      <a16:creationId xmlns:a16="http://schemas.microsoft.com/office/drawing/2014/main" id="{DA5F4491-E61A-07F2-0208-60274B9E6707}"/>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4" name="Google Shape;1345;p104">
                  <a:extLst>
                    <a:ext uri="{FF2B5EF4-FFF2-40B4-BE49-F238E27FC236}">
                      <a16:creationId xmlns:a16="http://schemas.microsoft.com/office/drawing/2014/main" id="{07095B1B-CF08-8CAF-A324-30985537A043}"/>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46;p104">
                  <a:extLst>
                    <a:ext uri="{FF2B5EF4-FFF2-40B4-BE49-F238E27FC236}">
                      <a16:creationId xmlns:a16="http://schemas.microsoft.com/office/drawing/2014/main" id="{63DCCFF5-A839-38FB-1D37-132A92D472C1}"/>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6" name="Google Shape;1347;p104">
                  <a:extLst>
                    <a:ext uri="{FF2B5EF4-FFF2-40B4-BE49-F238E27FC236}">
                      <a16:creationId xmlns:a16="http://schemas.microsoft.com/office/drawing/2014/main" id="{244FED0A-5548-C9BD-83C4-8A71A61A4405}"/>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67" name="Google Shape;1348;p104">
                  <a:extLst>
                    <a:ext uri="{FF2B5EF4-FFF2-40B4-BE49-F238E27FC236}">
                      <a16:creationId xmlns:a16="http://schemas.microsoft.com/office/drawing/2014/main" id="{B1258444-2B11-A1B0-2A18-A67A25E28034}"/>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49;p104">
                  <a:extLst>
                    <a:ext uri="{FF2B5EF4-FFF2-40B4-BE49-F238E27FC236}">
                      <a16:creationId xmlns:a16="http://schemas.microsoft.com/office/drawing/2014/main" id="{AF06FDE0-3596-1A96-94A8-B82FAFB78ACC}"/>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9" name="Google Shape;1350;p104">
                  <a:extLst>
                    <a:ext uri="{FF2B5EF4-FFF2-40B4-BE49-F238E27FC236}">
                      <a16:creationId xmlns:a16="http://schemas.microsoft.com/office/drawing/2014/main" id="{F4A13062-53F2-6F84-B496-2634DB2E87AF}"/>
                    </a:ext>
                  </a:extLst>
                </p:cNvPr>
                <p:cNvSpPr/>
                <p:nvPr/>
              </p:nvSpPr>
              <p:spPr>
                <a:xfrm>
                  <a:off x="3782854" y="5684244"/>
                  <a:ext cx="2722628" cy="115911"/>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4" name="Google Shape;1351;p104">
                <a:extLst>
                  <a:ext uri="{FF2B5EF4-FFF2-40B4-BE49-F238E27FC236}">
                    <a16:creationId xmlns:a16="http://schemas.microsoft.com/office/drawing/2014/main" id="{55E0100F-188C-1B9D-8084-05834FD5FF6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5" name="Google Shape;1352;p104">
                <a:extLst>
                  <a:ext uri="{FF2B5EF4-FFF2-40B4-BE49-F238E27FC236}">
                    <a16:creationId xmlns:a16="http://schemas.microsoft.com/office/drawing/2014/main" id="{7E4519B3-99F1-CC09-4C1F-244341920E23}"/>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 name="Google Shape;1353;p104">
                <a:extLst>
                  <a:ext uri="{FF2B5EF4-FFF2-40B4-BE49-F238E27FC236}">
                    <a16:creationId xmlns:a16="http://schemas.microsoft.com/office/drawing/2014/main" id="{FCB437F6-4474-3C14-9F73-750B80249742}"/>
                  </a:ext>
                </a:extLst>
              </p:cNvPr>
              <p:cNvGrpSpPr/>
              <p:nvPr/>
            </p:nvGrpSpPr>
            <p:grpSpPr>
              <a:xfrm>
                <a:off x="7402085" y="4400279"/>
                <a:ext cx="306080" cy="1067964"/>
                <a:chOff x="3146566" y="4705830"/>
                <a:chExt cx="275700" cy="823920"/>
              </a:xfrm>
            </p:grpSpPr>
            <p:sp>
              <p:nvSpPr>
                <p:cNvPr id="27" name="Google Shape;1354;p104">
                  <a:extLst>
                    <a:ext uri="{FF2B5EF4-FFF2-40B4-BE49-F238E27FC236}">
                      <a16:creationId xmlns:a16="http://schemas.microsoft.com/office/drawing/2014/main" id="{65E9AD83-F111-1708-33A6-EE8AFE212572}"/>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 name="Google Shape;1355;p104">
                  <a:extLst>
                    <a:ext uri="{FF2B5EF4-FFF2-40B4-BE49-F238E27FC236}">
                      <a16:creationId xmlns:a16="http://schemas.microsoft.com/office/drawing/2014/main" id="{CB36570A-847F-6211-9E8D-F1FC8D86F2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1" name="Google Shape;1356;p104" descr="Picnic table with solid fill">
              <a:extLst>
                <a:ext uri="{FF2B5EF4-FFF2-40B4-BE49-F238E27FC236}">
                  <a16:creationId xmlns:a16="http://schemas.microsoft.com/office/drawing/2014/main" id="{6B2FB0C5-D6D6-09C9-323E-524BDA1F9AE2}"/>
                </a:ext>
              </a:extLst>
            </p:cNvPr>
            <p:cNvPicPr preferRelativeResize="0"/>
            <p:nvPr/>
          </p:nvPicPr>
          <p:blipFill rotWithShape="1">
            <a:blip r:embed="rId16">
              <a:alphaModFix/>
            </a:blip>
            <a:srcRect/>
            <a:stretch/>
          </p:blipFill>
          <p:spPr>
            <a:xfrm>
              <a:off x="8854378" y="4753095"/>
              <a:ext cx="261700" cy="261700"/>
            </a:xfrm>
            <a:prstGeom prst="rect">
              <a:avLst/>
            </a:prstGeom>
            <a:noFill/>
            <a:ln>
              <a:noFill/>
            </a:ln>
          </p:spPr>
        </p:pic>
        <p:sp>
          <p:nvSpPr>
            <p:cNvPr id="22" name="Google Shape;1357;p104" descr="Bicycle Icon">
              <a:extLst>
                <a:ext uri="{FF2B5EF4-FFF2-40B4-BE49-F238E27FC236}">
                  <a16:creationId xmlns:a16="http://schemas.microsoft.com/office/drawing/2014/main" id="{D584EBA7-CBDB-A407-2BDD-101FF8371B4B}"/>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spTree>
    <p:extLst>
      <p:ext uri="{BB962C8B-B14F-4D97-AF65-F5344CB8AC3E}">
        <p14:creationId xmlns:p14="http://schemas.microsoft.com/office/powerpoint/2010/main" val="2643018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E109C5DE-2F60-F210-2203-131E1C4A07EF}"/>
              </a:ext>
              <a:ext uri="{C183D7F6-B498-43B3-948B-1728B52AA6E4}">
                <adec:decorative xmlns:adec="http://schemas.microsoft.com/office/drawing/2017/decorative" val="1"/>
              </a:ext>
            </a:extLst>
          </p:cNvPr>
          <p:cNvSpPr/>
          <p:nvPr>
            <p:custDataLst>
              <p:tags r:id="rId1"/>
            </p:custDataLst>
          </p:nvPr>
        </p:nvSpPr>
        <p:spPr>
          <a:xfrm>
            <a:off x="10188" y="-16566"/>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6001"/>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Ce que cela signifie pour </a:t>
            </a:r>
            <a:r>
              <a:rPr kumimoji="0" lang="fr-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m de l’organisation</a:t>
            </a:r>
            <a:r>
              <a:rPr kumimoji="0" lang="fr-CA" sz="3200" b="1" i="0" u="none" strike="noStrike" kern="1200" cap="none" spc="0" normalizeH="0" baseline="0" noProof="0" dirty="0">
                <a:ln>
                  <a:noFill/>
                </a:ln>
                <a:solidFill>
                  <a:schemeClr val="bg1"/>
                </a:solidFill>
                <a:effectLst/>
                <a:uLnTx/>
                <a:uFillTx/>
                <a:latin typeface="Avenir Next LT Pro Demi" panose="020B0704020202020204" pitchFamily="34" charset="0"/>
                <a:ea typeface="+mj-ea"/>
                <a:cs typeface="Arial" panose="020B0604020202020204" pitchFamily="34" charset="0"/>
              </a:rPr>
              <a:t>]</a:t>
            </a:r>
            <a:endPar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3"/>
            </p:custDataLst>
          </p:nvPr>
        </p:nvPicPr>
        <p:blipFill>
          <a:blip r:embed="rId25">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grpSp>
        <p:nvGrpSpPr>
          <p:cNvPr id="6" name="Gruppieren 269">
            <a:extLst>
              <a:ext uri="{FF2B5EF4-FFF2-40B4-BE49-F238E27FC236}">
                <a16:creationId xmlns:a16="http://schemas.microsoft.com/office/drawing/2014/main" id="{836673FF-D0BB-C36D-C2D5-F3A93BF20D2F}"/>
              </a:ext>
              <a:ext uri="{C183D7F6-B498-43B3-948B-1728B52AA6E4}">
                <adec:decorative xmlns:adec="http://schemas.microsoft.com/office/drawing/2017/decorative" val="1"/>
              </a:ext>
            </a:extLst>
          </p:cNvPr>
          <p:cNvGrpSpPr>
            <a:grpSpLocks noChangeAspect="1"/>
          </p:cNvGrpSpPr>
          <p:nvPr>
            <p:custDataLst>
              <p:tags r:id="rId4"/>
            </p:custDataLst>
          </p:nvPr>
        </p:nvGrpSpPr>
        <p:grpSpPr bwMode="gray">
          <a:xfrm>
            <a:off x="1523526" y="1264633"/>
            <a:ext cx="603603" cy="480230"/>
            <a:chOff x="7230825" y="5801578"/>
            <a:chExt cx="541734" cy="431006"/>
          </a:xfrm>
          <a:solidFill>
            <a:schemeClr val="tx2">
              <a:lumMod val="75000"/>
            </a:schemeClr>
          </a:solidFill>
        </p:grpSpPr>
        <p:sp>
          <p:nvSpPr>
            <p:cNvPr id="7" name="Freeform 1546">
              <a:extLst>
                <a:ext uri="{FF2B5EF4-FFF2-40B4-BE49-F238E27FC236}">
                  <a16:creationId xmlns:a16="http://schemas.microsoft.com/office/drawing/2014/main" id="{DF1B54B1-FDC7-272E-ACD2-429233288AAA}"/>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8" name="Freeform 1547">
              <a:extLst>
                <a:ext uri="{FF2B5EF4-FFF2-40B4-BE49-F238E27FC236}">
                  <a16:creationId xmlns:a16="http://schemas.microsoft.com/office/drawing/2014/main" id="{33327C22-3B62-383E-8C0F-5910728BA2F8}"/>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9" name="Freeform 1548">
              <a:extLst>
                <a:ext uri="{FF2B5EF4-FFF2-40B4-BE49-F238E27FC236}">
                  <a16:creationId xmlns:a16="http://schemas.microsoft.com/office/drawing/2014/main" id="{BEF3A216-9A22-0368-8CF4-1C7173CCA6B6}"/>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0" name="Freeform 1549">
              <a:extLst>
                <a:ext uri="{FF2B5EF4-FFF2-40B4-BE49-F238E27FC236}">
                  <a16:creationId xmlns:a16="http://schemas.microsoft.com/office/drawing/2014/main" id="{924FC582-7982-B973-AF78-F42BE18EFCE6}"/>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1" name="Freeform 1550">
              <a:extLst>
                <a:ext uri="{FF2B5EF4-FFF2-40B4-BE49-F238E27FC236}">
                  <a16:creationId xmlns:a16="http://schemas.microsoft.com/office/drawing/2014/main" id="{7FAB6D7A-2579-7F4E-E1F9-1C892DC4A1A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2" name="Rectangle 11">
            <a:extLst>
              <a:ext uri="{FF2B5EF4-FFF2-40B4-BE49-F238E27FC236}">
                <a16:creationId xmlns:a16="http://schemas.microsoft.com/office/drawing/2014/main" id="{B5E05B46-CF1C-10E8-CF27-43FD5B4CD2B6}"/>
              </a:ext>
            </a:extLst>
          </p:cNvPr>
          <p:cNvSpPr/>
          <p:nvPr>
            <p:custDataLst>
              <p:tags r:id="rId5"/>
            </p:custDataLst>
          </p:nvPr>
        </p:nvSpPr>
        <p:spPr>
          <a:xfrm>
            <a:off x="2301842" y="1340249"/>
            <a:ext cx="159320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Aujourd’hui</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3" name="Rectangle: Rounded Corners 248">
            <a:extLst>
              <a:ext uri="{FF2B5EF4-FFF2-40B4-BE49-F238E27FC236}">
                <a16:creationId xmlns:a16="http://schemas.microsoft.com/office/drawing/2014/main" id="{24D3B48C-3E45-5072-0313-084DCF56D01C}"/>
              </a:ext>
            </a:extLst>
          </p:cNvPr>
          <p:cNvSpPr/>
          <p:nvPr>
            <p:custDataLst>
              <p:tags r:id="rId6"/>
            </p:custDataLst>
          </p:nvPr>
        </p:nvSpPr>
        <p:spPr>
          <a:xfrm>
            <a:off x="792054" y="201956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4" name="Rectangle: Rounded Corners 249">
            <a:extLst>
              <a:ext uri="{FF2B5EF4-FFF2-40B4-BE49-F238E27FC236}">
                <a16:creationId xmlns:a16="http://schemas.microsoft.com/office/drawing/2014/main" id="{D8AE10C8-3898-213E-7C33-47F8EE2CB0CA}"/>
              </a:ext>
            </a:extLst>
          </p:cNvPr>
          <p:cNvSpPr/>
          <p:nvPr>
            <p:custDataLst>
              <p:tags r:id="rId7"/>
            </p:custDataLst>
          </p:nvPr>
        </p:nvSpPr>
        <p:spPr>
          <a:xfrm>
            <a:off x="792053" y="2581456"/>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5" name="Rectangle: Rounded Corners 152" descr="Assigned workstation for one individual">
            <a:extLst>
              <a:ext uri="{FF2B5EF4-FFF2-40B4-BE49-F238E27FC236}">
                <a16:creationId xmlns:a16="http://schemas.microsoft.com/office/drawing/2014/main" id="{250D293B-CD7C-D21D-0290-87DD62438189}"/>
              </a:ext>
            </a:extLst>
          </p:cNvPr>
          <p:cNvSpPr/>
          <p:nvPr>
            <p:custDataLst>
              <p:tags r:id="rId8"/>
            </p:custDataLst>
          </p:nvPr>
        </p:nvSpPr>
        <p:spPr>
          <a:xfrm>
            <a:off x="792053" y="3250814"/>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6" name="TextBox 151">
            <a:extLst>
              <a:ext uri="{FF2B5EF4-FFF2-40B4-BE49-F238E27FC236}">
                <a16:creationId xmlns:a16="http://schemas.microsoft.com/office/drawing/2014/main" id="{491B984F-4AFE-70B5-52DF-3AC5E21CC468}"/>
              </a:ext>
              <a:ext uri="{C183D7F6-B498-43B3-948B-1728B52AA6E4}">
                <adec:decorative xmlns:adec="http://schemas.microsoft.com/office/drawing/2017/decorative" val="1"/>
              </a:ext>
            </a:extLst>
          </p:cNvPr>
          <p:cNvSpPr txBox="1"/>
          <p:nvPr>
            <p:custDataLst>
              <p:tags r:id="rId9"/>
            </p:custDataLst>
          </p:nvPr>
        </p:nvSpPr>
        <p:spPr>
          <a:xfrm>
            <a:off x="967666" y="3538282"/>
            <a:ext cx="1873925"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ints de travail attribués 1:1</a:t>
            </a:r>
          </a:p>
        </p:txBody>
      </p:sp>
      <p:pic>
        <p:nvPicPr>
          <p:cNvPr id="17" name="Picture 148">
            <a:extLst>
              <a:ext uri="{FF2B5EF4-FFF2-40B4-BE49-F238E27FC236}">
                <a16:creationId xmlns:a16="http://schemas.microsoft.com/office/drawing/2014/main" id="{275EB9EA-242E-E32A-7DF8-E542F80E1164}"/>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26" cstate="screen">
            <a:extLst>
              <a:ext uri="{28A0092B-C50C-407E-A947-70E740481C1C}">
                <a14:useLocalDpi xmlns:a14="http://schemas.microsoft.com/office/drawing/2010/main" val="0"/>
              </a:ext>
            </a:extLst>
          </a:blip>
          <a:stretch>
            <a:fillRect/>
          </a:stretch>
        </p:blipFill>
        <p:spPr>
          <a:xfrm>
            <a:off x="3118573" y="3374894"/>
            <a:ext cx="492134" cy="929265"/>
          </a:xfrm>
          <a:prstGeom prst="rect">
            <a:avLst/>
          </a:prstGeom>
        </p:spPr>
      </p:pic>
      <p:pic>
        <p:nvPicPr>
          <p:cNvPr id="18" name="Picture 149">
            <a:extLst>
              <a:ext uri="{FF2B5EF4-FFF2-40B4-BE49-F238E27FC236}">
                <a16:creationId xmlns:a16="http://schemas.microsoft.com/office/drawing/2014/main" id="{82BBBD58-FA6F-6EC8-AECE-391F7F6F74D3}"/>
              </a:ext>
              <a:ext uri="{C183D7F6-B498-43B3-948B-1728B52AA6E4}">
                <adec:decorative xmlns:adec="http://schemas.microsoft.com/office/drawing/2017/decorative" val="1"/>
              </a:ext>
            </a:extLst>
          </p:cNvPr>
          <p:cNvPicPr>
            <a:picLocks noChangeAspect="1"/>
          </p:cNvPicPr>
          <p:nvPr>
            <p:custDataLst>
              <p:tags r:id="rId11"/>
            </p:custDataLst>
          </p:nvPr>
        </p:nvPicPr>
        <p:blipFill>
          <a:blip r:embed="rId27" cstate="screen">
            <a:extLst>
              <a:ext uri="{28A0092B-C50C-407E-A947-70E740481C1C}">
                <a14:useLocalDpi xmlns:a14="http://schemas.microsoft.com/office/drawing/2010/main" val="0"/>
              </a:ext>
            </a:extLst>
          </a:blip>
          <a:stretch>
            <a:fillRect/>
          </a:stretch>
        </p:blipFill>
        <p:spPr>
          <a:xfrm>
            <a:off x="3638709" y="4240030"/>
            <a:ext cx="469801" cy="848938"/>
          </a:xfrm>
          <a:prstGeom prst="rect">
            <a:avLst/>
          </a:prstGeom>
        </p:spPr>
      </p:pic>
      <p:sp>
        <p:nvSpPr>
          <p:cNvPr id="19" name="Freeform: Shape 247">
            <a:extLst>
              <a:ext uri="{FF2B5EF4-FFF2-40B4-BE49-F238E27FC236}">
                <a16:creationId xmlns:a16="http://schemas.microsoft.com/office/drawing/2014/main" id="{F04B82CF-8286-8190-4CBE-7BDA4BB27B00}"/>
              </a:ext>
              <a:ext uri="{C183D7F6-B498-43B3-948B-1728B52AA6E4}">
                <adec:decorative xmlns:adec="http://schemas.microsoft.com/office/drawing/2017/decorative" val="1"/>
              </a:ext>
            </a:extLst>
          </p:cNvPr>
          <p:cNvSpPr/>
          <p:nvPr>
            <p:custDataLst>
              <p:tags r:id="rId12"/>
            </p:custDataLst>
          </p:nvPr>
        </p:nvSpPr>
        <p:spPr>
          <a:xfrm>
            <a:off x="3998520" y="1310584"/>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20" name="Gruppieren 269">
            <a:extLst>
              <a:ext uri="{FF2B5EF4-FFF2-40B4-BE49-F238E27FC236}">
                <a16:creationId xmlns:a16="http://schemas.microsoft.com/office/drawing/2014/main" id="{DCF7A223-1B46-DCE0-C185-178B672ADE30}"/>
              </a:ext>
              <a:ext uri="{C183D7F6-B498-43B3-948B-1728B52AA6E4}">
                <adec:decorative xmlns:adec="http://schemas.microsoft.com/office/drawing/2017/decorative" val="1"/>
              </a:ext>
            </a:extLst>
          </p:cNvPr>
          <p:cNvGrpSpPr>
            <a:grpSpLocks noChangeAspect="1"/>
          </p:cNvGrpSpPr>
          <p:nvPr>
            <p:custDataLst>
              <p:tags r:id="rId13"/>
            </p:custDataLst>
          </p:nvPr>
        </p:nvGrpSpPr>
        <p:grpSpPr bwMode="gray">
          <a:xfrm>
            <a:off x="7393384" y="1264632"/>
            <a:ext cx="603603" cy="480230"/>
            <a:chOff x="7230825" y="5801578"/>
            <a:chExt cx="541734" cy="431006"/>
          </a:xfrm>
          <a:solidFill>
            <a:srgbClr val="76B49F"/>
          </a:solidFill>
        </p:grpSpPr>
        <p:sp>
          <p:nvSpPr>
            <p:cNvPr id="21" name="Freeform 1546">
              <a:extLst>
                <a:ext uri="{FF2B5EF4-FFF2-40B4-BE49-F238E27FC236}">
                  <a16:creationId xmlns:a16="http://schemas.microsoft.com/office/drawing/2014/main" id="{F9A80AC9-F28F-76B1-5684-C481593D7723}"/>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2" name="Freeform 1547">
              <a:extLst>
                <a:ext uri="{FF2B5EF4-FFF2-40B4-BE49-F238E27FC236}">
                  <a16:creationId xmlns:a16="http://schemas.microsoft.com/office/drawing/2014/main" id="{89B21B3A-D85A-B8C7-48F8-3CA73E7C2320}"/>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3" name="Freeform 1548">
              <a:extLst>
                <a:ext uri="{FF2B5EF4-FFF2-40B4-BE49-F238E27FC236}">
                  <a16:creationId xmlns:a16="http://schemas.microsoft.com/office/drawing/2014/main" id="{4EDF1A38-1D91-82B4-3822-2C10FFC49D78}"/>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4" name="Freeform 1549">
              <a:extLst>
                <a:ext uri="{FF2B5EF4-FFF2-40B4-BE49-F238E27FC236}">
                  <a16:creationId xmlns:a16="http://schemas.microsoft.com/office/drawing/2014/main" id="{62B1A6BC-85B8-8455-E5E4-944980977CE0}"/>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25" name="Freeform 1550">
              <a:extLst>
                <a:ext uri="{FF2B5EF4-FFF2-40B4-BE49-F238E27FC236}">
                  <a16:creationId xmlns:a16="http://schemas.microsoft.com/office/drawing/2014/main" id="{4C6558A7-8461-4B90-34AF-9C2C38721B9B}"/>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26" name="Rectangle 25">
            <a:extLst>
              <a:ext uri="{FF2B5EF4-FFF2-40B4-BE49-F238E27FC236}">
                <a16:creationId xmlns:a16="http://schemas.microsoft.com/office/drawing/2014/main" id="{3EB05C5D-2B3E-2DE3-4C8F-BD63A7AFA07B}"/>
              </a:ext>
            </a:extLst>
          </p:cNvPr>
          <p:cNvSpPr/>
          <p:nvPr>
            <p:custDataLst>
              <p:tags r:id="rId14"/>
            </p:custDataLst>
          </p:nvPr>
        </p:nvSpPr>
        <p:spPr>
          <a:xfrm>
            <a:off x="8171700" y="1336034"/>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27" name="Rectangle: Rounded Corners 251">
            <a:extLst>
              <a:ext uri="{FF2B5EF4-FFF2-40B4-BE49-F238E27FC236}">
                <a16:creationId xmlns:a16="http://schemas.microsoft.com/office/drawing/2014/main" id="{57DEDA11-4574-71ED-2E61-C7774C243B21}"/>
              </a:ext>
            </a:extLst>
          </p:cNvPr>
          <p:cNvSpPr/>
          <p:nvPr>
            <p:custDataLst>
              <p:tags r:id="rId15"/>
            </p:custDataLst>
          </p:nvPr>
        </p:nvSpPr>
        <p:spPr>
          <a:xfrm>
            <a:off x="6794648" y="2019566"/>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28" name="Rectangle: Rounded Corners 252">
            <a:extLst>
              <a:ext uri="{FF2B5EF4-FFF2-40B4-BE49-F238E27FC236}">
                <a16:creationId xmlns:a16="http://schemas.microsoft.com/office/drawing/2014/main" id="{59447730-6FE7-EC4E-D82B-4CDD47E25598}"/>
              </a:ext>
            </a:extLst>
          </p:cNvPr>
          <p:cNvSpPr/>
          <p:nvPr>
            <p:custDataLst>
              <p:tags r:id="rId16"/>
            </p:custDataLst>
          </p:nvPr>
        </p:nvSpPr>
        <p:spPr>
          <a:xfrm>
            <a:off x="6809832" y="256502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29" name="TextBox 156">
            <a:extLst>
              <a:ext uri="{FF2B5EF4-FFF2-40B4-BE49-F238E27FC236}">
                <a16:creationId xmlns:a16="http://schemas.microsoft.com/office/drawing/2014/main" id="{553F35BF-1795-942C-7210-1F70701F738A}"/>
              </a:ext>
            </a:extLst>
          </p:cNvPr>
          <p:cNvSpPr txBox="1"/>
          <p:nvPr>
            <p:custDataLst>
              <p:tags r:id="rId17"/>
            </p:custDataLst>
          </p:nvPr>
        </p:nvSpPr>
        <p:spPr>
          <a:xfrm>
            <a:off x="6927445" y="3216132"/>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ints de travail non attribués</a:t>
            </a:r>
            <a:endParaRPr lang="fr-CA" sz="1600" b="1" i="1" dirty="0">
              <a:latin typeface="Avenir Next LT Pro" panose="020B0504020202020204" pitchFamily="34" charset="0"/>
            </a:endParaRPr>
          </a:p>
        </p:txBody>
      </p:sp>
      <p:sp>
        <p:nvSpPr>
          <p:cNvPr id="30" name="Rectangle: Rounded Corners 153">
            <a:extLst>
              <a:ext uri="{FF2B5EF4-FFF2-40B4-BE49-F238E27FC236}">
                <a16:creationId xmlns:a16="http://schemas.microsoft.com/office/drawing/2014/main" id="{CF803FF0-F5AD-09EE-E848-7158D9ECA15B}"/>
              </a:ext>
              <a:ext uri="{C183D7F6-B498-43B3-948B-1728B52AA6E4}">
                <adec:decorative xmlns:adec="http://schemas.microsoft.com/office/drawing/2017/decorative" val="1"/>
              </a:ext>
            </a:extLst>
          </p:cNvPr>
          <p:cNvSpPr/>
          <p:nvPr>
            <p:custDataLst>
              <p:tags r:id="rId18"/>
            </p:custDataLst>
          </p:nvPr>
        </p:nvSpPr>
        <p:spPr>
          <a:xfrm>
            <a:off x="6826601" y="3152759"/>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31" name="Picture 191">
            <a:extLst>
              <a:ext uri="{FF2B5EF4-FFF2-40B4-BE49-F238E27FC236}">
                <a16:creationId xmlns:a16="http://schemas.microsoft.com/office/drawing/2014/main" id="{584F3591-1389-AFE2-9988-630538612733}"/>
              </a:ext>
              <a:ext uri="{C183D7F6-B498-43B3-948B-1728B52AA6E4}">
                <adec:decorative xmlns:adec="http://schemas.microsoft.com/office/drawing/2017/decorative" val="1"/>
              </a:ext>
            </a:extLst>
          </p:cNvPr>
          <p:cNvPicPr>
            <a:picLocks noChangeAspect="1"/>
          </p:cNvPicPr>
          <p:nvPr>
            <p:custDataLst>
              <p:tags r:id="rId19"/>
            </p:custDataLst>
          </p:nvPr>
        </p:nvPicPr>
        <p:blipFill>
          <a:blip r:embed="rId28" cstate="screen">
            <a:extLst>
              <a:ext uri="{28A0092B-C50C-407E-A947-70E740481C1C}">
                <a14:useLocalDpi xmlns:a14="http://schemas.microsoft.com/office/drawing/2010/main" val="0"/>
              </a:ext>
            </a:extLst>
          </a:blip>
          <a:stretch>
            <a:fillRect/>
          </a:stretch>
        </p:blipFill>
        <p:spPr>
          <a:xfrm>
            <a:off x="9142790" y="3596115"/>
            <a:ext cx="1174806" cy="880081"/>
          </a:xfrm>
          <a:prstGeom prst="rect">
            <a:avLst/>
          </a:prstGeom>
        </p:spPr>
      </p:pic>
      <p:pic>
        <p:nvPicPr>
          <p:cNvPr id="32" name="Picture 192">
            <a:extLst>
              <a:ext uri="{FF2B5EF4-FFF2-40B4-BE49-F238E27FC236}">
                <a16:creationId xmlns:a16="http://schemas.microsoft.com/office/drawing/2014/main" id="{FDF20F69-3197-FD5C-05EB-9E1AC0557767}"/>
              </a:ext>
              <a:ext uri="{C183D7F6-B498-43B3-948B-1728B52AA6E4}">
                <adec:decorative xmlns:adec="http://schemas.microsoft.com/office/drawing/2017/decorative" val="1"/>
              </a:ext>
            </a:extLst>
          </p:cNvPr>
          <p:cNvPicPr>
            <a:picLocks noChangeAspect="1"/>
          </p:cNvPicPr>
          <p:nvPr>
            <p:custDataLst>
              <p:tags r:id="rId20"/>
            </p:custDataLst>
          </p:nvPr>
        </p:nvPicPr>
        <p:blipFill>
          <a:blip r:embed="rId29" cstate="screen">
            <a:extLst>
              <a:ext uri="{28A0092B-C50C-407E-A947-70E740481C1C}">
                <a14:useLocalDpi xmlns:a14="http://schemas.microsoft.com/office/drawing/2010/main" val="0"/>
              </a:ext>
            </a:extLst>
          </a:blip>
          <a:stretch>
            <a:fillRect/>
          </a:stretch>
        </p:blipFill>
        <p:spPr>
          <a:xfrm>
            <a:off x="6934383" y="3638059"/>
            <a:ext cx="781969" cy="848938"/>
          </a:xfrm>
          <a:prstGeom prst="rect">
            <a:avLst/>
          </a:prstGeom>
        </p:spPr>
      </p:pic>
      <p:grpSp>
        <p:nvGrpSpPr>
          <p:cNvPr id="33" name="Group 194">
            <a:extLst>
              <a:ext uri="{FF2B5EF4-FFF2-40B4-BE49-F238E27FC236}">
                <a16:creationId xmlns:a16="http://schemas.microsoft.com/office/drawing/2014/main" id="{769F25D5-0ACE-A2D5-150F-32E72CA3FC17}"/>
              </a:ext>
              <a:ext uri="{C183D7F6-B498-43B3-948B-1728B52AA6E4}">
                <adec:decorative xmlns:adec="http://schemas.microsoft.com/office/drawing/2017/decorative" val="1"/>
              </a:ext>
            </a:extLst>
          </p:cNvPr>
          <p:cNvGrpSpPr/>
          <p:nvPr>
            <p:custDataLst>
              <p:tags r:id="rId21"/>
            </p:custDataLst>
          </p:nvPr>
        </p:nvGrpSpPr>
        <p:grpSpPr>
          <a:xfrm>
            <a:off x="7815558" y="3661775"/>
            <a:ext cx="1327232" cy="816533"/>
            <a:chOff x="6312030" y="4120319"/>
            <a:chExt cx="3331283" cy="2089752"/>
          </a:xfrm>
        </p:grpSpPr>
        <p:pic>
          <p:nvPicPr>
            <p:cNvPr id="34" name="Picture 157">
              <a:extLst>
                <a:ext uri="{FF2B5EF4-FFF2-40B4-BE49-F238E27FC236}">
                  <a16:creationId xmlns:a16="http://schemas.microsoft.com/office/drawing/2014/main" id="{2FB48BB1-72DE-06A6-56B2-FC23EFB14F8B}"/>
                </a:ext>
              </a:extLst>
            </p:cNvPr>
            <p:cNvPicPr>
              <a:picLocks noChangeAspect="1"/>
            </p:cNvPicPr>
            <p:nvPr/>
          </p:nvPicPr>
          <p:blipFill>
            <a:blip r:embed="rId30"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35" name="Picture 158">
              <a:extLst>
                <a:ext uri="{FF2B5EF4-FFF2-40B4-BE49-F238E27FC236}">
                  <a16:creationId xmlns:a16="http://schemas.microsoft.com/office/drawing/2014/main" id="{BBD661EF-B16E-1F8E-F7B2-08A14C470C0E}"/>
                </a:ext>
              </a:extLst>
            </p:cNvPr>
            <p:cNvPicPr>
              <a:picLocks noChangeAspect="1"/>
            </p:cNvPicPr>
            <p:nvPr/>
          </p:nvPicPr>
          <p:blipFill>
            <a:blip r:embed="rId31"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36" name="Picture 193">
              <a:extLst>
                <a:ext uri="{FF2B5EF4-FFF2-40B4-BE49-F238E27FC236}">
                  <a16:creationId xmlns:a16="http://schemas.microsoft.com/office/drawing/2014/main" id="{ED75FF99-3DF7-84E0-7B5B-4EFCB272051C}"/>
                </a:ext>
              </a:extLst>
            </p:cNvPr>
            <p:cNvPicPr>
              <a:picLocks noChangeAspect="1"/>
            </p:cNvPicPr>
            <p:nvPr/>
          </p:nvPicPr>
          <p:blipFill>
            <a:blip r:embed="rId32"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7" name="Rectangle: Rounded Corners 252">
            <a:extLst>
              <a:ext uri="{FF2B5EF4-FFF2-40B4-BE49-F238E27FC236}">
                <a16:creationId xmlns:a16="http://schemas.microsoft.com/office/drawing/2014/main" id="{04E6FCF7-DB94-8921-A44C-934B7E940C36}"/>
              </a:ext>
            </a:extLst>
          </p:cNvPr>
          <p:cNvSpPr/>
          <p:nvPr>
            <p:custDataLst>
              <p:tags r:id="rId22"/>
            </p:custDataLst>
          </p:nvPr>
        </p:nvSpPr>
        <p:spPr>
          <a:xfrm>
            <a:off x="6794648" y="4903131"/>
            <a:ext cx="4043070" cy="52861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façons d’utiliser l’espace</a:t>
            </a:r>
          </a:p>
        </p:txBody>
      </p:sp>
    </p:spTree>
    <p:extLst>
      <p:ext uri="{BB962C8B-B14F-4D97-AF65-F5344CB8AC3E}">
        <p14:creationId xmlns:p14="http://schemas.microsoft.com/office/powerpoint/2010/main" val="951449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custDataLst>
              <p:tags r:id="rId1"/>
            </p:custDataLst>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custDataLst>
              <p:tags r:id="rId2"/>
            </p:custDataLst>
          </p:nvPr>
        </p:nvSpPr>
        <p:spPr>
          <a:xfrm>
            <a:off x="206501" y="36753"/>
            <a:ext cx="1132302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fr-CA" dirty="0">
                <a:solidFill>
                  <a:schemeClr val="bg1"/>
                </a:solidFill>
                <a:ea typeface="+mn-ea"/>
              </a:rPr>
              <a:t>Plus qu’une optimisation du milieu de travail</a:t>
            </a:r>
          </a:p>
        </p:txBody>
      </p:sp>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custDataLst>
              <p:tags r:id="rId3"/>
            </p:custDataLst>
          </p:nvPr>
        </p:nvPicPr>
        <p:blipFill rotWithShape="1">
          <a:blip r:embed="rId8"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pic>
        <p:nvPicPr>
          <p:cNvPr id="3"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9">
            <a:biLevel thresh="25000"/>
            <a:extLst>
              <a:ext uri="{28A0092B-C50C-407E-A947-70E740481C1C}">
                <a14:useLocalDpi xmlns:a14="http://schemas.microsoft.com/office/drawing/2010/main" val="0"/>
              </a:ext>
            </a:extLst>
          </a:blip>
          <a:srcRect/>
          <a:stretch/>
        </p:blipFill>
        <p:spPr>
          <a:xfrm>
            <a:off x="11529530" y="54509"/>
            <a:ext cx="531869" cy="580758"/>
          </a:xfrm>
          <a:prstGeom prst="rect">
            <a:avLst/>
          </a:prstGeom>
        </p:spPr>
      </p:pic>
      <p:graphicFrame>
        <p:nvGraphicFramePr>
          <p:cNvPr id="5" name="Diagramme 4" descr="proposer un espace mieux adapté, favoriser l'accessibilité et l'inclusion.">
            <a:extLst>
              <a:ext uri="{FF2B5EF4-FFF2-40B4-BE49-F238E27FC236}">
                <a16:creationId xmlns:a16="http://schemas.microsoft.com/office/drawing/2014/main" id="{47AF23CB-9CF8-3A93-AC5C-6849E2091E92}"/>
              </a:ext>
            </a:extLst>
          </p:cNvPr>
          <p:cNvGraphicFramePr/>
          <p:nvPr>
            <p:custDataLst>
              <p:tags r:id="rId5"/>
            </p:custDataLst>
            <p:extLst>
              <p:ext uri="{D42A27DB-BD31-4B8C-83A1-F6EECF244321}">
                <p14:modId xmlns:p14="http://schemas.microsoft.com/office/powerpoint/2010/main" val="1462940156"/>
              </p:ext>
            </p:extLst>
          </p:nvPr>
        </p:nvGraphicFramePr>
        <p:xfrm>
          <a:off x="497902" y="1138059"/>
          <a:ext cx="10445715" cy="424767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78283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custDataLst>
              <p:tags r:id="rId1"/>
            </p:custDataLst>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E2A90173-C9BE-15AB-2F1B-343129698A10}"/>
              </a:ext>
            </a:extLst>
          </p:cNvPr>
          <p:cNvSpPr txBox="1">
            <a:spLocks noGrp="1"/>
          </p:cNvSpPr>
          <p:nvPr>
            <p:ph type="title" idx="4294967295"/>
            <p:custDataLst>
              <p:tags r:id="rId2"/>
            </p:custDataLst>
          </p:nvPr>
        </p:nvSpPr>
        <p:spPr>
          <a:xfrm>
            <a:off x="206500" y="36753"/>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xpérience en milieu de travail – notre vision</a:t>
            </a:r>
          </a:p>
        </p:txBody>
      </p:sp>
      <p:sp>
        <p:nvSpPr>
          <p:cNvPr id="3" name="TextBox 2">
            <a:extLst>
              <a:ext uri="{FF2B5EF4-FFF2-40B4-BE49-F238E27FC236}">
                <a16:creationId xmlns:a16="http://schemas.microsoft.com/office/drawing/2014/main" id="{7A78167E-F052-C9E8-04C8-15DFB9851FEC}"/>
              </a:ext>
            </a:extLst>
          </p:cNvPr>
          <p:cNvSpPr txBox="1"/>
          <p:nvPr>
            <p:custDataLst>
              <p:tags r:id="rId3"/>
            </p:custDataLst>
          </p:nvPr>
        </p:nvSpPr>
        <p:spPr>
          <a:xfrm>
            <a:off x="581229" y="1201526"/>
            <a:ext cx="10362388" cy="369332"/>
          </a:xfrm>
          <a:prstGeom prst="rect">
            <a:avLst/>
          </a:prstGeom>
          <a:noFill/>
        </p:spPr>
        <p:txBody>
          <a:bodyPr wrap="square">
            <a:spAutoFit/>
          </a:bodyPr>
          <a:lstStyle/>
          <a:p>
            <a:r>
              <a:rPr lang="fr-CA" i="1" dirty="0"/>
              <a:t>Insérez la vision de l’expérience en milieu de travail de votre organisation s’il y a lieu.</a:t>
            </a:r>
            <a:endParaRPr lang="fr-CA" dirty="0"/>
          </a:p>
        </p:txBody>
      </p:sp>
      <p:pic>
        <p:nvPicPr>
          <p:cNvPr id="4" name="Content Placeholder 10">
            <a:extLst>
              <a:ext uri="{FF2B5EF4-FFF2-40B4-BE49-F238E27FC236}">
                <a16:creationId xmlns:a16="http://schemas.microsoft.com/office/drawing/2014/main" id="{D4402F8A-8A9E-5164-5B84-3A9EF264160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7">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Tree>
    <p:extLst>
      <p:ext uri="{BB962C8B-B14F-4D97-AF65-F5344CB8AC3E}">
        <p14:creationId xmlns:p14="http://schemas.microsoft.com/office/powerpoint/2010/main" val="1455389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D0AA24E-8F9C-5384-47ED-0C5CBF0D2122}"/>
              </a:ext>
            </a:extLst>
          </p:cNvPr>
          <p:cNvSpPr>
            <a:spLocks noGrp="1"/>
          </p:cNvSpPr>
          <p:nvPr>
            <p:ph type="title" idx="4294967295"/>
            <p:custDataLst>
              <p:tags r:id="rId1"/>
            </p:custDataLst>
          </p:nvPr>
        </p:nvSpPr>
        <p:spPr>
          <a:xfrm>
            <a:off x="528638" y="2085279"/>
            <a:ext cx="11115674" cy="1712169"/>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fr-CA" sz="66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De nouvelles façons d’utiliser l’espace</a:t>
            </a:r>
          </a:p>
        </p:txBody>
      </p:sp>
    </p:spTree>
    <p:extLst>
      <p:ext uri="{BB962C8B-B14F-4D97-AF65-F5344CB8AC3E}">
        <p14:creationId xmlns:p14="http://schemas.microsoft.com/office/powerpoint/2010/main" val="7751455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custDataLst>
              <p:tags r:id="rId1"/>
            </p:custDataLst>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dirty="0"/>
          </a:p>
        </p:txBody>
      </p:sp>
      <p:sp>
        <p:nvSpPr>
          <p:cNvPr id="3" name="Title 1">
            <a:extLst>
              <a:ext uri="{FF2B5EF4-FFF2-40B4-BE49-F238E27FC236}">
                <a16:creationId xmlns:a16="http://schemas.microsoft.com/office/drawing/2014/main" id="{41BE6B50-88EB-D2A5-67D3-AD36A9027E26}"/>
              </a:ext>
            </a:extLst>
          </p:cNvPr>
          <p:cNvSpPr txBox="1">
            <a:spLocks noGrp="1"/>
          </p:cNvSpPr>
          <p:nvPr>
            <p:ph type="title" idx="4294967295"/>
            <p:custDataLst>
              <p:tags r:id="rId2"/>
            </p:custDataLst>
          </p:nvPr>
        </p:nvSpPr>
        <p:spPr>
          <a:xfrm>
            <a:off x="206500" y="108455"/>
            <a:ext cx="1132303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s postes de travail non attribués</a:t>
            </a:r>
          </a:p>
        </p:txBody>
      </p:sp>
      <p:sp>
        <p:nvSpPr>
          <p:cNvPr id="5" name="TextBox 4">
            <a:extLst>
              <a:ext uri="{FF2B5EF4-FFF2-40B4-BE49-F238E27FC236}">
                <a16:creationId xmlns:a16="http://schemas.microsoft.com/office/drawing/2014/main" id="{D0DACE9A-1229-9EEE-A180-51B071D4E977}"/>
              </a:ext>
            </a:extLst>
          </p:cNvPr>
          <p:cNvSpPr txBox="1"/>
          <p:nvPr>
            <p:custDataLst>
              <p:tags r:id="rId3"/>
            </p:custDataLst>
          </p:nvPr>
        </p:nvSpPr>
        <p:spPr>
          <a:xfrm>
            <a:off x="581228" y="1201526"/>
            <a:ext cx="7738683" cy="5078313"/>
          </a:xfrm>
          <a:prstGeom prst="rect">
            <a:avLst/>
          </a:prstGeom>
          <a:noFill/>
        </p:spPr>
        <p:txBody>
          <a:bodyPr wrap="square">
            <a:spAutoFit/>
          </a:bodyPr>
          <a:lstStyle/>
          <a:p>
            <a:r>
              <a:rPr lang="fr-CA" sz="1800" b="1" dirty="0">
                <a:latin typeface="Avenir Next LT Pro" panose="020B0504020202020204" pitchFamily="34" charset="0"/>
              </a:rPr>
              <a:t>Cela signifie que :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L</a:t>
            </a:r>
            <a:r>
              <a:rPr lang="fr-CA" sz="1800" dirty="0">
                <a:latin typeface="Avenir Next LT Pro" panose="020B0504020202020204" pitchFamily="34" charset="0"/>
              </a:rPr>
              <a:t>es postes de travail et les bureaux fermés seront partagés et offerts à tous.</a:t>
            </a:r>
          </a:p>
          <a:p>
            <a:endParaRPr lang="fr-CA" sz="1800"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Chaque jour au bureau, vous pouvez choisir un poste de travail qui convient à vos besoins et à vos préférences.</a:t>
            </a:r>
          </a:p>
          <a:p>
            <a:endParaRPr lang="fr-CA" dirty="0">
              <a:latin typeface="Avenir Next LT Pro" panose="020B0504020202020204" pitchFamily="34" charset="0"/>
            </a:endParaRPr>
          </a:p>
          <a:p>
            <a:r>
              <a:rPr lang="fr-CA" b="1" dirty="0">
                <a:latin typeface="Avenir Next LT Pro" panose="020B0504020202020204" pitchFamily="34" charset="0"/>
              </a:rPr>
              <a:t>Cela signifie aussi que :</a:t>
            </a:r>
          </a:p>
          <a:p>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Vous devez réserver votre point de travail au moyen d’une application (pour gérer la capacité des étages).</a:t>
            </a:r>
          </a:p>
          <a:p>
            <a:pPr marL="285750" indent="-285750">
              <a:buFont typeface="Arial" panose="020B0604020202020204" pitchFamily="34" charset="0"/>
              <a:buChar char="•"/>
            </a:pPr>
            <a:endParaRPr lang="fr-CA"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Vous devez utiliser un casier pour ranger vos biens professionnels et effets personnels.</a:t>
            </a:r>
          </a:p>
          <a:p>
            <a:endParaRPr lang="fr-CA" dirty="0">
              <a:latin typeface="Avenir Next LT Pro" panose="020B0504020202020204" pitchFamily="34" charset="0"/>
            </a:endParaRPr>
          </a:p>
          <a:p>
            <a:endParaRPr lang="fr-CA" dirty="0">
              <a:latin typeface="Avenir Next LT Pro" panose="020B0504020202020204" pitchFamily="34" charset="0"/>
            </a:endParaRPr>
          </a:p>
          <a:p>
            <a:endParaRPr lang="fr-CA" dirty="0"/>
          </a:p>
        </p:txBody>
      </p:sp>
      <p:pic>
        <p:nvPicPr>
          <p:cNvPr id="2" name="Content Placeholder 10">
            <a:extLst>
              <a:ext uri="{FF2B5EF4-FFF2-40B4-BE49-F238E27FC236}">
                <a16:creationId xmlns:a16="http://schemas.microsoft.com/office/drawing/2014/main" id="{0E9612D6-45F7-B170-9554-337FDA335619}"/>
              </a:ext>
              <a:ext uri="{C183D7F6-B498-43B3-948B-1728B52AA6E4}">
                <adec:decorative xmlns:adec="http://schemas.microsoft.com/office/drawing/2017/decorative" val="1"/>
              </a:ext>
            </a:extLst>
          </p:cNvPr>
          <p:cNvPicPr>
            <a:picLocks noChangeAspect="1"/>
          </p:cNvPicPr>
          <p:nvPr>
            <p:custDataLst>
              <p:tags r:id="rId4"/>
            </p:custDataLst>
          </p:nvPr>
        </p:nvPicPr>
        <p:blipFill>
          <a:blip r:embed="rId8">
            <a:biLevel thresh="25000"/>
            <a:extLst>
              <a:ext uri="{28A0092B-C50C-407E-A947-70E740481C1C}">
                <a14:useLocalDpi xmlns:a14="http://schemas.microsoft.com/office/drawing/2010/main" val="0"/>
              </a:ext>
            </a:extLst>
          </a:blip>
          <a:srcRect/>
          <a:stretch/>
        </p:blipFill>
        <p:spPr>
          <a:xfrm>
            <a:off x="11529530" y="63387"/>
            <a:ext cx="531869" cy="580758"/>
          </a:xfrm>
          <a:prstGeom prst="rect">
            <a:avLst/>
          </a:prstGeom>
        </p:spPr>
      </p:pic>
      <p:sp>
        <p:nvSpPr>
          <p:cNvPr id="6" name="ZoneTexte 5">
            <a:extLst>
              <a:ext uri="{FF2B5EF4-FFF2-40B4-BE49-F238E27FC236}">
                <a16:creationId xmlns:a16="http://schemas.microsoft.com/office/drawing/2014/main" id="{55B9010B-A8A7-9B6F-B5B4-3FFDE75A9E2A}"/>
              </a:ext>
            </a:extLst>
          </p:cNvPr>
          <p:cNvSpPr txBox="1"/>
          <p:nvPr>
            <p:custDataLst>
              <p:tags r:id="rId5"/>
            </p:custDataLst>
          </p:nvPr>
        </p:nvSpPr>
        <p:spPr>
          <a:xfrm>
            <a:off x="8590844" y="1591733"/>
            <a:ext cx="3019928" cy="3139321"/>
          </a:xfrm>
          <a:prstGeom prst="rect">
            <a:avLst/>
          </a:prstGeom>
          <a:noFill/>
          <a:ln>
            <a:solidFill>
              <a:schemeClr val="tx1"/>
            </a:solidFill>
          </a:ln>
        </p:spPr>
        <p:txBody>
          <a:bodyPr wrap="square" rtlCol="0">
            <a:spAutoFit/>
          </a:bodyPr>
          <a:lstStyle/>
          <a:p>
            <a:r>
              <a:rPr lang="fr-CA" dirty="0"/>
              <a:t>Image?</a:t>
            </a:r>
          </a:p>
          <a:p>
            <a:endParaRPr lang="fr-CA" dirty="0"/>
          </a:p>
          <a:p>
            <a:endParaRPr lang="fr-CA" dirty="0"/>
          </a:p>
          <a:p>
            <a:endParaRPr lang="fr-CA" dirty="0"/>
          </a:p>
          <a:p>
            <a:endParaRPr lang="fr-CA" dirty="0"/>
          </a:p>
          <a:p>
            <a:endParaRPr lang="fr-CA" dirty="0"/>
          </a:p>
          <a:p>
            <a:endParaRPr lang="fr-CA" dirty="0"/>
          </a:p>
          <a:p>
            <a:endParaRPr lang="fr-CA" dirty="0"/>
          </a:p>
          <a:p>
            <a:endParaRPr lang="fr-CA" dirty="0"/>
          </a:p>
          <a:p>
            <a:endParaRPr lang="fr-CA" dirty="0"/>
          </a:p>
          <a:p>
            <a:endParaRPr lang="fr-CA" dirty="0"/>
          </a:p>
        </p:txBody>
      </p:sp>
    </p:spTree>
    <p:extLst>
      <p:ext uri="{BB962C8B-B14F-4D97-AF65-F5344CB8AC3E}">
        <p14:creationId xmlns:p14="http://schemas.microsoft.com/office/powerpoint/2010/main" val="25094893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4"/>
</p:tagLst>
</file>

<file path=ppt/tags/tag100.xml><?xml version="1.0" encoding="utf-8"?>
<p:tagLst xmlns:a="http://schemas.openxmlformats.org/drawingml/2006/main" xmlns:r="http://schemas.openxmlformats.org/officeDocument/2006/relationships" xmlns:p="http://schemas.openxmlformats.org/presentationml/2006/main">
  <p:tag name="NUM" val="10"/>
</p:tagLst>
</file>

<file path=ppt/tags/tag101.xml><?xml version="1.0" encoding="utf-8"?>
<p:tagLst xmlns:a="http://schemas.openxmlformats.org/drawingml/2006/main" xmlns:r="http://schemas.openxmlformats.org/officeDocument/2006/relationships" xmlns:p="http://schemas.openxmlformats.org/presentationml/2006/main">
  <p:tag name="NUM" val="11"/>
</p:tagLst>
</file>

<file path=ppt/tags/tag102.xml><?xml version="1.0" encoding="utf-8"?>
<p:tagLst xmlns:a="http://schemas.openxmlformats.org/drawingml/2006/main" xmlns:r="http://schemas.openxmlformats.org/officeDocument/2006/relationships" xmlns:p="http://schemas.openxmlformats.org/presentationml/2006/main">
  <p:tag name="NUM" val="12"/>
</p:tagLst>
</file>

<file path=ppt/tags/tag103.xml><?xml version="1.0" encoding="utf-8"?>
<p:tagLst xmlns:a="http://schemas.openxmlformats.org/drawingml/2006/main" xmlns:r="http://schemas.openxmlformats.org/officeDocument/2006/relationships" xmlns:p="http://schemas.openxmlformats.org/presentationml/2006/main">
  <p:tag name="NUM" val="14"/>
</p:tagLst>
</file>

<file path=ppt/tags/tag104.xml><?xml version="1.0" encoding="utf-8"?>
<p:tagLst xmlns:a="http://schemas.openxmlformats.org/drawingml/2006/main" xmlns:r="http://schemas.openxmlformats.org/officeDocument/2006/relationships" xmlns:p="http://schemas.openxmlformats.org/presentationml/2006/main">
  <p:tag name="NUM" val="15"/>
</p:tagLst>
</file>

<file path=ppt/tags/tag105.xml><?xml version="1.0" encoding="utf-8"?>
<p:tagLst xmlns:a="http://schemas.openxmlformats.org/drawingml/2006/main" xmlns:r="http://schemas.openxmlformats.org/officeDocument/2006/relationships" xmlns:p="http://schemas.openxmlformats.org/presentationml/2006/main">
  <p:tag name="NUM" val="16"/>
</p:tagLst>
</file>

<file path=ppt/tags/tag106.xml><?xml version="1.0" encoding="utf-8"?>
<p:tagLst xmlns:a="http://schemas.openxmlformats.org/drawingml/2006/main" xmlns:r="http://schemas.openxmlformats.org/officeDocument/2006/relationships" xmlns:p="http://schemas.openxmlformats.org/presentationml/2006/main">
  <p:tag name="NUM" val="17"/>
</p:tagLst>
</file>

<file path=ppt/tags/tag107.xml><?xml version="1.0" encoding="utf-8"?>
<p:tagLst xmlns:a="http://schemas.openxmlformats.org/drawingml/2006/main" xmlns:r="http://schemas.openxmlformats.org/officeDocument/2006/relationships" xmlns:p="http://schemas.openxmlformats.org/presentationml/2006/main">
  <p:tag name="NUM" val="18"/>
</p:tagLst>
</file>

<file path=ppt/tags/tag108.xml><?xml version="1.0" encoding="utf-8"?>
<p:tagLst xmlns:a="http://schemas.openxmlformats.org/drawingml/2006/main" xmlns:r="http://schemas.openxmlformats.org/officeDocument/2006/relationships" xmlns:p="http://schemas.openxmlformats.org/presentationml/2006/main">
  <p:tag name="NUM" val="19"/>
</p:tagLst>
</file>

<file path=ppt/tags/tag109.xml><?xml version="1.0" encoding="utf-8"?>
<p:tagLst xmlns:a="http://schemas.openxmlformats.org/drawingml/2006/main" xmlns:r="http://schemas.openxmlformats.org/officeDocument/2006/relationships" xmlns:p="http://schemas.openxmlformats.org/presentationml/2006/main">
  <p:tag name="NUM" val="2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10.xml><?xml version="1.0" encoding="utf-8"?>
<p:tagLst xmlns:a="http://schemas.openxmlformats.org/drawingml/2006/main" xmlns:r="http://schemas.openxmlformats.org/officeDocument/2006/relationships" xmlns:p="http://schemas.openxmlformats.org/presentationml/2006/main">
  <p:tag name="NUM" val="21"/>
</p:tagLst>
</file>

<file path=ppt/tags/tag111.xml><?xml version="1.0" encoding="utf-8"?>
<p:tagLst xmlns:a="http://schemas.openxmlformats.org/drawingml/2006/main" xmlns:r="http://schemas.openxmlformats.org/officeDocument/2006/relationships" xmlns:p="http://schemas.openxmlformats.org/presentationml/2006/main">
  <p:tag name="NUM" val="22"/>
</p:tagLst>
</file>

<file path=ppt/tags/tag112.xml><?xml version="1.0" encoding="utf-8"?>
<p:tagLst xmlns:a="http://schemas.openxmlformats.org/drawingml/2006/main" xmlns:r="http://schemas.openxmlformats.org/officeDocument/2006/relationships" xmlns:p="http://schemas.openxmlformats.org/presentationml/2006/main">
  <p:tag name="NUM" val="23"/>
</p:tagLst>
</file>

<file path=ppt/tags/tag113.xml><?xml version="1.0" encoding="utf-8"?>
<p:tagLst xmlns:a="http://schemas.openxmlformats.org/drawingml/2006/main" xmlns:r="http://schemas.openxmlformats.org/officeDocument/2006/relationships" xmlns:p="http://schemas.openxmlformats.org/presentationml/2006/main">
  <p:tag name="NUM" val="24"/>
</p:tagLst>
</file>

<file path=ppt/tags/tag114.xml><?xml version="1.0" encoding="utf-8"?>
<p:tagLst xmlns:a="http://schemas.openxmlformats.org/drawingml/2006/main" xmlns:r="http://schemas.openxmlformats.org/officeDocument/2006/relationships" xmlns:p="http://schemas.openxmlformats.org/presentationml/2006/main">
  <p:tag name="NUM" val="25"/>
</p:tagLst>
</file>

<file path=ppt/tags/tag115.xml><?xml version="1.0" encoding="utf-8"?>
<p:tagLst xmlns:a="http://schemas.openxmlformats.org/drawingml/2006/main" xmlns:r="http://schemas.openxmlformats.org/officeDocument/2006/relationships" xmlns:p="http://schemas.openxmlformats.org/presentationml/2006/main">
  <p:tag name="NUM" val="26"/>
</p:tagLst>
</file>

<file path=ppt/tags/tag116.xml><?xml version="1.0" encoding="utf-8"?>
<p:tagLst xmlns:a="http://schemas.openxmlformats.org/drawingml/2006/main" xmlns:r="http://schemas.openxmlformats.org/officeDocument/2006/relationships" xmlns:p="http://schemas.openxmlformats.org/presentationml/2006/main">
  <p:tag name="NUM" val="27"/>
</p:tagLst>
</file>

<file path=ppt/tags/tag117.xml><?xml version="1.0" encoding="utf-8"?>
<p:tagLst xmlns:a="http://schemas.openxmlformats.org/drawingml/2006/main" xmlns:r="http://schemas.openxmlformats.org/officeDocument/2006/relationships" xmlns:p="http://schemas.openxmlformats.org/presentationml/2006/main">
  <p:tag name="NUM" val="28"/>
</p:tagLst>
</file>

<file path=ppt/tags/tag118.xml><?xml version="1.0" encoding="utf-8"?>
<p:tagLst xmlns:a="http://schemas.openxmlformats.org/drawingml/2006/main" xmlns:r="http://schemas.openxmlformats.org/officeDocument/2006/relationships" xmlns:p="http://schemas.openxmlformats.org/presentationml/2006/main">
  <p:tag name="NUM" val="29"/>
</p:tagLst>
</file>

<file path=ppt/tags/tag119.xml><?xml version="1.0" encoding="utf-8"?>
<p:tagLst xmlns:a="http://schemas.openxmlformats.org/drawingml/2006/main" xmlns:r="http://schemas.openxmlformats.org/officeDocument/2006/relationships" xmlns:p="http://schemas.openxmlformats.org/presentationml/2006/main">
  <p:tag name="NUM" val="30"/>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31"/>
</p:tagLst>
</file>

<file path=ppt/tags/tag121.xml><?xml version="1.0" encoding="utf-8"?>
<p:tagLst xmlns:a="http://schemas.openxmlformats.org/drawingml/2006/main" xmlns:r="http://schemas.openxmlformats.org/officeDocument/2006/relationships" xmlns:p="http://schemas.openxmlformats.org/presentationml/2006/main">
  <p:tag name="NUM" val="32"/>
</p:tagLst>
</file>

<file path=ppt/tags/tag122.xml><?xml version="1.0" encoding="utf-8"?>
<p:tagLst xmlns:a="http://schemas.openxmlformats.org/drawingml/2006/main" xmlns:r="http://schemas.openxmlformats.org/officeDocument/2006/relationships" xmlns:p="http://schemas.openxmlformats.org/presentationml/2006/main">
  <p:tag name="NUM" val="33"/>
</p:tagLst>
</file>

<file path=ppt/tags/tag123.xml><?xml version="1.0" encoding="utf-8"?>
<p:tagLst xmlns:a="http://schemas.openxmlformats.org/drawingml/2006/main" xmlns:r="http://schemas.openxmlformats.org/officeDocument/2006/relationships" xmlns:p="http://schemas.openxmlformats.org/presentationml/2006/main">
  <p:tag name="NUM" val="34"/>
</p:tagLst>
</file>

<file path=ppt/tags/tag124.xml><?xml version="1.0" encoding="utf-8"?>
<p:tagLst xmlns:a="http://schemas.openxmlformats.org/drawingml/2006/main" xmlns:r="http://schemas.openxmlformats.org/officeDocument/2006/relationships" xmlns:p="http://schemas.openxmlformats.org/presentationml/2006/main">
  <p:tag name="NUM" val="35"/>
</p:tagLst>
</file>

<file path=ppt/tags/tag125.xml><?xml version="1.0" encoding="utf-8"?>
<p:tagLst xmlns:a="http://schemas.openxmlformats.org/drawingml/2006/main" xmlns:r="http://schemas.openxmlformats.org/officeDocument/2006/relationships" xmlns:p="http://schemas.openxmlformats.org/presentationml/2006/main">
  <p:tag name="NUM" val="36"/>
</p:tagLst>
</file>

<file path=ppt/tags/tag126.xml><?xml version="1.0" encoding="utf-8"?>
<p:tagLst xmlns:a="http://schemas.openxmlformats.org/drawingml/2006/main" xmlns:r="http://schemas.openxmlformats.org/officeDocument/2006/relationships" xmlns:p="http://schemas.openxmlformats.org/presentationml/2006/main">
  <p:tag name="NUM" val="37"/>
</p:tagLst>
</file>

<file path=ppt/tags/tag127.xml><?xml version="1.0" encoding="utf-8"?>
<p:tagLst xmlns:a="http://schemas.openxmlformats.org/drawingml/2006/main" xmlns:r="http://schemas.openxmlformats.org/officeDocument/2006/relationships" xmlns:p="http://schemas.openxmlformats.org/presentationml/2006/main">
  <p:tag name="NUM" val="38"/>
</p:tagLst>
</file>

<file path=ppt/tags/tag128.xml><?xml version="1.0" encoding="utf-8"?>
<p:tagLst xmlns:a="http://schemas.openxmlformats.org/drawingml/2006/main" xmlns:r="http://schemas.openxmlformats.org/officeDocument/2006/relationships" xmlns:p="http://schemas.openxmlformats.org/presentationml/2006/main">
  <p:tag name="NUM" val="39"/>
</p:tagLst>
</file>

<file path=ppt/tags/tag129.xml><?xml version="1.0" encoding="utf-8"?>
<p:tagLst xmlns:a="http://schemas.openxmlformats.org/drawingml/2006/main" xmlns:r="http://schemas.openxmlformats.org/officeDocument/2006/relationships" xmlns:p="http://schemas.openxmlformats.org/presentationml/2006/main">
  <p:tag name="NUM" val="40"/>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41"/>
</p:tagLst>
</file>

<file path=ppt/tags/tag131.xml><?xml version="1.0" encoding="utf-8"?>
<p:tagLst xmlns:a="http://schemas.openxmlformats.org/drawingml/2006/main" xmlns:r="http://schemas.openxmlformats.org/officeDocument/2006/relationships" xmlns:p="http://schemas.openxmlformats.org/presentationml/2006/main">
  <p:tag name="NUM" val="42"/>
</p:tagLst>
</file>

<file path=ppt/tags/tag132.xml><?xml version="1.0" encoding="utf-8"?>
<p:tagLst xmlns:a="http://schemas.openxmlformats.org/drawingml/2006/main" xmlns:r="http://schemas.openxmlformats.org/officeDocument/2006/relationships" xmlns:p="http://schemas.openxmlformats.org/presentationml/2006/main">
  <p:tag name="NUM" val="43"/>
</p:tagLst>
</file>

<file path=ppt/tags/tag133.xml><?xml version="1.0" encoding="utf-8"?>
<p:tagLst xmlns:a="http://schemas.openxmlformats.org/drawingml/2006/main" xmlns:r="http://schemas.openxmlformats.org/officeDocument/2006/relationships" xmlns:p="http://schemas.openxmlformats.org/presentationml/2006/main">
  <p:tag name="NUM" val="44"/>
</p:tagLst>
</file>

<file path=ppt/tags/tag134.xml><?xml version="1.0" encoding="utf-8"?>
<p:tagLst xmlns:a="http://schemas.openxmlformats.org/drawingml/2006/main" xmlns:r="http://schemas.openxmlformats.org/officeDocument/2006/relationships" xmlns:p="http://schemas.openxmlformats.org/presentationml/2006/main">
  <p:tag name="NUM" val="45"/>
</p:tagLst>
</file>

<file path=ppt/tags/tag135.xml><?xml version="1.0" encoding="utf-8"?>
<p:tagLst xmlns:a="http://schemas.openxmlformats.org/drawingml/2006/main" xmlns:r="http://schemas.openxmlformats.org/officeDocument/2006/relationships" xmlns:p="http://schemas.openxmlformats.org/presentationml/2006/main">
  <p:tag name="NUM" val="46"/>
</p:tagLst>
</file>

<file path=ppt/tags/tag136.xml><?xml version="1.0" encoding="utf-8"?>
<p:tagLst xmlns:a="http://schemas.openxmlformats.org/drawingml/2006/main" xmlns:r="http://schemas.openxmlformats.org/officeDocument/2006/relationships" xmlns:p="http://schemas.openxmlformats.org/presentationml/2006/main">
  <p:tag name="NUM" val="47"/>
</p:tagLst>
</file>

<file path=ppt/tags/tag137.xml><?xml version="1.0" encoding="utf-8"?>
<p:tagLst xmlns:a="http://schemas.openxmlformats.org/drawingml/2006/main" xmlns:r="http://schemas.openxmlformats.org/officeDocument/2006/relationships" xmlns:p="http://schemas.openxmlformats.org/presentationml/2006/main">
  <p:tag name="NUM" val="48"/>
</p:tagLst>
</file>

<file path=ppt/tags/tag138.xml><?xml version="1.0" encoding="utf-8"?>
<p:tagLst xmlns:a="http://schemas.openxmlformats.org/drawingml/2006/main" xmlns:r="http://schemas.openxmlformats.org/officeDocument/2006/relationships" xmlns:p="http://schemas.openxmlformats.org/presentationml/2006/main">
  <p:tag name="NUM" val="49"/>
</p:tagLst>
</file>

<file path=ppt/tags/tag139.xml><?xml version="1.0" encoding="utf-8"?>
<p:tagLst xmlns:a="http://schemas.openxmlformats.org/drawingml/2006/main" xmlns:r="http://schemas.openxmlformats.org/officeDocument/2006/relationships" xmlns:p="http://schemas.openxmlformats.org/presentationml/2006/main">
  <p:tag name="NUM" val="50"/>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51"/>
</p:tagLst>
</file>

<file path=ppt/tags/tag141.xml><?xml version="1.0" encoding="utf-8"?>
<p:tagLst xmlns:a="http://schemas.openxmlformats.org/drawingml/2006/main" xmlns:r="http://schemas.openxmlformats.org/officeDocument/2006/relationships" xmlns:p="http://schemas.openxmlformats.org/presentationml/2006/main">
  <p:tag name="NUM" val="52"/>
</p:tagLst>
</file>

<file path=ppt/tags/tag142.xml><?xml version="1.0" encoding="utf-8"?>
<p:tagLst xmlns:a="http://schemas.openxmlformats.org/drawingml/2006/main" xmlns:r="http://schemas.openxmlformats.org/officeDocument/2006/relationships" xmlns:p="http://schemas.openxmlformats.org/presentationml/2006/main">
  <p:tag name="NUM" val="53"/>
</p:tagLst>
</file>

<file path=ppt/tags/tag143.xml><?xml version="1.0" encoding="utf-8"?>
<p:tagLst xmlns:a="http://schemas.openxmlformats.org/drawingml/2006/main" xmlns:r="http://schemas.openxmlformats.org/officeDocument/2006/relationships" xmlns:p="http://schemas.openxmlformats.org/presentationml/2006/main">
  <p:tag name="NUM" val="54"/>
</p:tagLst>
</file>

<file path=ppt/tags/tag144.xml><?xml version="1.0" encoding="utf-8"?>
<p:tagLst xmlns:a="http://schemas.openxmlformats.org/drawingml/2006/main" xmlns:r="http://schemas.openxmlformats.org/officeDocument/2006/relationships" xmlns:p="http://schemas.openxmlformats.org/presentationml/2006/main">
  <p:tag name="NUM" val="55"/>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3"/>
</p:tagLst>
</file>

<file path=ppt/tags/tag147.xml><?xml version="1.0" encoding="utf-8"?>
<p:tagLst xmlns:a="http://schemas.openxmlformats.org/drawingml/2006/main" xmlns:r="http://schemas.openxmlformats.org/officeDocument/2006/relationships" xmlns:p="http://schemas.openxmlformats.org/presentationml/2006/main">
  <p:tag name="NUM" val="2"/>
</p:tagLst>
</file>

<file path=ppt/tags/tag148.xml><?xml version="1.0" encoding="utf-8"?>
<p:tagLst xmlns:a="http://schemas.openxmlformats.org/drawingml/2006/main" xmlns:r="http://schemas.openxmlformats.org/officeDocument/2006/relationships" xmlns:p="http://schemas.openxmlformats.org/presentationml/2006/main">
  <p:tag name="NUM" val="4"/>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7"/>
</p:tagLst>
</file>

<file path=ppt/tags/tag154.xml><?xml version="1.0" encoding="utf-8"?>
<p:tagLst xmlns:a="http://schemas.openxmlformats.org/drawingml/2006/main" xmlns:r="http://schemas.openxmlformats.org/officeDocument/2006/relationships" xmlns:p="http://schemas.openxmlformats.org/presentationml/2006/main">
  <p:tag name="NUM" val="4"/>
</p:tagLst>
</file>

<file path=ppt/tags/tag155.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7"/>
</p:tagLst>
</file>

<file path=ppt/tags/tag28.xml><?xml version="1.0" encoding="utf-8"?>
<p:tagLst xmlns:a="http://schemas.openxmlformats.org/drawingml/2006/main" xmlns:r="http://schemas.openxmlformats.org/officeDocument/2006/relationships" xmlns:p="http://schemas.openxmlformats.org/presentationml/2006/main">
  <p:tag name="NUM" val="8"/>
</p:tagLst>
</file>

<file path=ppt/tags/tag29.xml><?xml version="1.0" encoding="utf-8"?>
<p:tagLst xmlns:a="http://schemas.openxmlformats.org/drawingml/2006/main" xmlns:r="http://schemas.openxmlformats.org/officeDocument/2006/relationships" xmlns:p="http://schemas.openxmlformats.org/presentationml/2006/main">
  <p:tag name="NUM" val="9"/>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1.xml><?xml version="1.0" encoding="utf-8"?>
<p:tagLst xmlns:a="http://schemas.openxmlformats.org/drawingml/2006/main" xmlns:r="http://schemas.openxmlformats.org/officeDocument/2006/relationships" xmlns:p="http://schemas.openxmlformats.org/presentationml/2006/main">
  <p:tag name="NUM" val="10"/>
</p:tagLst>
</file>

<file path=ppt/tags/tag32.xml><?xml version="1.0" encoding="utf-8"?>
<p:tagLst xmlns:a="http://schemas.openxmlformats.org/drawingml/2006/main" xmlns:r="http://schemas.openxmlformats.org/officeDocument/2006/relationships" xmlns:p="http://schemas.openxmlformats.org/presentationml/2006/main">
  <p:tag name="NUM" val="11"/>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4"/>
</p:tagLst>
</file>

<file path=ppt/tags/tag47.xml><?xml version="1.0" encoding="utf-8"?>
<p:tagLst xmlns:a="http://schemas.openxmlformats.org/drawingml/2006/main" xmlns:r="http://schemas.openxmlformats.org/officeDocument/2006/relationships" xmlns:p="http://schemas.openxmlformats.org/presentationml/2006/main">
  <p:tag name="NUM" val="15"/>
</p:tagLst>
</file>

<file path=ppt/tags/tag48.xml><?xml version="1.0" encoding="utf-8"?>
<p:tagLst xmlns:a="http://schemas.openxmlformats.org/drawingml/2006/main" xmlns:r="http://schemas.openxmlformats.org/officeDocument/2006/relationships" xmlns:p="http://schemas.openxmlformats.org/presentationml/2006/main">
  <p:tag name="NUM" val="16"/>
</p:tagLst>
</file>

<file path=ppt/tags/tag49.xml><?xml version="1.0" encoding="utf-8"?>
<p:tagLst xmlns:a="http://schemas.openxmlformats.org/drawingml/2006/main" xmlns:r="http://schemas.openxmlformats.org/officeDocument/2006/relationships" xmlns:p="http://schemas.openxmlformats.org/presentationml/2006/main">
  <p:tag name="NUM"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8"/>
</p:tagLst>
</file>

<file path=ppt/tags/tag51.xml><?xml version="1.0" encoding="utf-8"?>
<p:tagLst xmlns:a="http://schemas.openxmlformats.org/drawingml/2006/main" xmlns:r="http://schemas.openxmlformats.org/officeDocument/2006/relationships" xmlns:p="http://schemas.openxmlformats.org/presentationml/2006/main">
  <p:tag name="NUM" val="19"/>
</p:tagLst>
</file>

<file path=ppt/tags/tag52.xml><?xml version="1.0" encoding="utf-8"?>
<p:tagLst xmlns:a="http://schemas.openxmlformats.org/drawingml/2006/main" xmlns:r="http://schemas.openxmlformats.org/officeDocument/2006/relationships" xmlns:p="http://schemas.openxmlformats.org/presentationml/2006/main">
  <p:tag name="NUM" val="20"/>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2"/>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7.xml><?xml version="1.0" encoding="utf-8"?>
<p:tagLst xmlns:a="http://schemas.openxmlformats.org/drawingml/2006/main" xmlns:r="http://schemas.openxmlformats.org/officeDocument/2006/relationships" xmlns:p="http://schemas.openxmlformats.org/presentationml/2006/main">
  <p:tag name="NUM" val="3"/>
</p:tagLst>
</file>

<file path=ppt/tags/tag58.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1"/>
</p:tagLst>
</file>

<file path=ppt/tags/tag66.xml><?xml version="1.0" encoding="utf-8"?>
<p:tagLst xmlns:a="http://schemas.openxmlformats.org/drawingml/2006/main" xmlns:r="http://schemas.openxmlformats.org/officeDocument/2006/relationships" xmlns:p="http://schemas.openxmlformats.org/presentationml/2006/main">
  <p:tag name="NUM" val="2"/>
</p:tagLst>
</file>

<file path=ppt/tags/tag67.xml><?xml version="1.0" encoding="utf-8"?>
<p:tagLst xmlns:a="http://schemas.openxmlformats.org/drawingml/2006/main" xmlns:r="http://schemas.openxmlformats.org/officeDocument/2006/relationships" xmlns:p="http://schemas.openxmlformats.org/presentationml/2006/main">
  <p:tag name="NUM" val="3"/>
</p:tagLst>
</file>

<file path=ppt/tags/tag68.xml><?xml version="1.0" encoding="utf-8"?>
<p:tagLst xmlns:a="http://schemas.openxmlformats.org/drawingml/2006/main" xmlns:r="http://schemas.openxmlformats.org/officeDocument/2006/relationships" xmlns:p="http://schemas.openxmlformats.org/presentationml/2006/main">
  <p:tag name="NUM" val="4"/>
</p:tagLst>
</file>

<file path=ppt/tags/tag69.xml><?xml version="1.0" encoding="utf-8"?>
<p:tagLst xmlns:a="http://schemas.openxmlformats.org/drawingml/2006/main" xmlns:r="http://schemas.openxmlformats.org/officeDocument/2006/relationships" xmlns:p="http://schemas.openxmlformats.org/presentationml/2006/main">
  <p:tag name="NUM"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2"/>
</p:tagLst>
</file>

<file path=ppt/tags/tag72.xml><?xml version="1.0" encoding="utf-8"?>
<p:tagLst xmlns:a="http://schemas.openxmlformats.org/drawingml/2006/main" xmlns:r="http://schemas.openxmlformats.org/officeDocument/2006/relationships" xmlns:p="http://schemas.openxmlformats.org/presentationml/2006/main">
  <p:tag name="NUM" val="3"/>
</p:tagLst>
</file>

<file path=ppt/tags/tag73.xml><?xml version="1.0" encoding="utf-8"?>
<p:tagLst xmlns:a="http://schemas.openxmlformats.org/drawingml/2006/main" xmlns:r="http://schemas.openxmlformats.org/officeDocument/2006/relationships" xmlns:p="http://schemas.openxmlformats.org/presentationml/2006/main">
  <p:tag name="NUM" val="4"/>
</p:tagLst>
</file>

<file path=ppt/tags/tag74.xml><?xml version="1.0" encoding="utf-8"?>
<p:tagLst xmlns:a="http://schemas.openxmlformats.org/drawingml/2006/main" xmlns:r="http://schemas.openxmlformats.org/officeDocument/2006/relationships" xmlns:p="http://schemas.openxmlformats.org/presentationml/2006/main">
  <p:tag name="NUM" val="8"/>
</p:tagLst>
</file>

<file path=ppt/tags/tag75.xml><?xml version="1.0" encoding="utf-8"?>
<p:tagLst xmlns:a="http://schemas.openxmlformats.org/drawingml/2006/main" xmlns:r="http://schemas.openxmlformats.org/officeDocument/2006/relationships" xmlns:p="http://schemas.openxmlformats.org/presentationml/2006/main">
  <p:tag name="NUM" val="5"/>
</p:tagLst>
</file>

<file path=ppt/tags/tag76.xml><?xml version="1.0" encoding="utf-8"?>
<p:tagLst xmlns:a="http://schemas.openxmlformats.org/drawingml/2006/main" xmlns:r="http://schemas.openxmlformats.org/officeDocument/2006/relationships" xmlns:p="http://schemas.openxmlformats.org/presentationml/2006/main">
  <p:tag name="NUM" val="6"/>
</p:tagLst>
</file>

<file path=ppt/tags/tag77.xml><?xml version="1.0" encoding="utf-8"?>
<p:tagLst xmlns:a="http://schemas.openxmlformats.org/drawingml/2006/main" xmlns:r="http://schemas.openxmlformats.org/officeDocument/2006/relationships" xmlns:p="http://schemas.openxmlformats.org/presentationml/2006/main">
  <p:tag name="NUM" val="7"/>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2"/>
</p:tagLst>
</file>

<file path=ppt/tags/tag80.xml><?xml version="1.0" encoding="utf-8"?>
<p:tagLst xmlns:a="http://schemas.openxmlformats.org/drawingml/2006/main" xmlns:r="http://schemas.openxmlformats.org/officeDocument/2006/relationships" xmlns:p="http://schemas.openxmlformats.org/presentationml/2006/main">
  <p:tag name="NUM" val="3"/>
</p:tagLst>
</file>

<file path=ppt/tags/tag81.xml><?xml version="1.0" encoding="utf-8"?>
<p:tagLst xmlns:a="http://schemas.openxmlformats.org/drawingml/2006/main" xmlns:r="http://schemas.openxmlformats.org/officeDocument/2006/relationships" xmlns:p="http://schemas.openxmlformats.org/presentationml/2006/main">
  <p:tag name="NUM" val="4"/>
</p:tagLst>
</file>

<file path=ppt/tags/tag82.xml><?xml version="1.0" encoding="utf-8"?>
<p:tagLst xmlns:a="http://schemas.openxmlformats.org/drawingml/2006/main" xmlns:r="http://schemas.openxmlformats.org/officeDocument/2006/relationships" xmlns:p="http://schemas.openxmlformats.org/presentationml/2006/main">
  <p:tag name="NUM" val="5"/>
</p:tagLst>
</file>

<file path=ppt/tags/tag83.xml><?xml version="1.0" encoding="utf-8"?>
<p:tagLst xmlns:a="http://schemas.openxmlformats.org/drawingml/2006/main" xmlns:r="http://schemas.openxmlformats.org/officeDocument/2006/relationships" xmlns:p="http://schemas.openxmlformats.org/presentationml/2006/main">
  <p:tag name="NUM" val="11"/>
</p:tagLst>
</file>

<file path=ppt/tags/tag84.xml><?xml version="1.0" encoding="utf-8"?>
<p:tagLst xmlns:a="http://schemas.openxmlformats.org/drawingml/2006/main" xmlns:r="http://schemas.openxmlformats.org/officeDocument/2006/relationships" xmlns:p="http://schemas.openxmlformats.org/presentationml/2006/main">
  <p:tag name="NUM" val="1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13"/>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6.xml><?xml version="1.0" encoding="utf-8"?>
<p:tagLst xmlns:a="http://schemas.openxmlformats.org/drawingml/2006/main" xmlns:r="http://schemas.openxmlformats.org/officeDocument/2006/relationships" xmlns:p="http://schemas.openxmlformats.org/presentationml/2006/main">
  <p:tag name="NUM" val="8"/>
</p:tagLst>
</file>

<file path=ppt/tags/tag97.xml><?xml version="1.0" encoding="utf-8"?>
<p:tagLst xmlns:a="http://schemas.openxmlformats.org/drawingml/2006/main" xmlns:r="http://schemas.openxmlformats.org/officeDocument/2006/relationships" xmlns:p="http://schemas.openxmlformats.org/presentationml/2006/main">
  <p:tag name="NUM" val="7"/>
</p:tagLst>
</file>

<file path=ppt/tags/tag98.xml><?xml version="1.0" encoding="utf-8"?>
<p:tagLst xmlns:a="http://schemas.openxmlformats.org/drawingml/2006/main" xmlns:r="http://schemas.openxmlformats.org/officeDocument/2006/relationships" xmlns:p="http://schemas.openxmlformats.org/presentationml/2006/main">
  <p:tag name="NUM" val="56"/>
</p:tagLst>
</file>

<file path=ppt/tags/tag99.xml><?xml version="1.0" encoding="utf-8"?>
<p:tagLst xmlns:a="http://schemas.openxmlformats.org/drawingml/2006/main" xmlns:r="http://schemas.openxmlformats.org/officeDocument/2006/relationships" xmlns:p="http://schemas.openxmlformats.org/presentationml/2006/main">
  <p:tag name="NUM" val="9"/>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8902</TotalTime>
  <Words>1661</Words>
  <Application>Microsoft Office PowerPoint</Application>
  <PresentationFormat>Widescreen</PresentationFormat>
  <Paragraphs>179</Paragraphs>
  <Slides>15</Slides>
  <Notes>1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Arial Rounded MT Bold</vt:lpstr>
      <vt:lpstr>Avenir Next LT Pro</vt:lpstr>
      <vt:lpstr>Avenir Next LT Pro Demi</vt:lpstr>
      <vt:lpstr>Calibri</vt:lpstr>
      <vt:lpstr>Calibri Light</vt:lpstr>
      <vt:lpstr>Georgia</vt:lpstr>
      <vt:lpstr>1_Office Theme</vt:lpstr>
      <vt:lpstr>think-cell Slide</vt:lpstr>
      <vt:lpstr>Projet d’optimisation du milieu de travail</vt:lpstr>
      <vt:lpstr>Comment utiliser ce document</vt:lpstr>
      <vt:lpstr>Déroulement</vt:lpstr>
      <vt:lpstr>Contexte : Budget 2024</vt:lpstr>
      <vt:lpstr>Ce que cela signifie pour [Nom de l’organisation]</vt:lpstr>
      <vt:lpstr>Plus qu’une optimisation du milieu de travail</vt:lpstr>
      <vt:lpstr>L’expérience en milieu de travail – notre vision</vt:lpstr>
      <vt:lpstr>De nouvelles façons d’utiliser l’espace</vt:lpstr>
      <vt:lpstr>Des postes de travail non attribués</vt:lpstr>
      <vt:lpstr>Zone Tranquille</vt:lpstr>
      <vt:lpstr>Voisinage</vt:lpstr>
      <vt:lpstr>Contribuer au succès de l’initiative</vt:lpstr>
      <vt:lpstr>Échéancier</vt:lpstr>
      <vt:lpstr>Prochaines étapes</vt:lpstr>
      <vt:lpstr>Restez à l’affû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730</cp:revision>
  <dcterms:created xsi:type="dcterms:W3CDTF">2018-01-23T15:59:12Z</dcterms:created>
  <dcterms:modified xsi:type="dcterms:W3CDTF">2024-11-14T15:29: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23:1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7c5e1c-cd09-43a7-a6d7-016a01d92eb5</vt:lpwstr>
  </property>
  <property fmtid="{D5CDD505-2E9C-101B-9397-08002B2CF9AE}" pid="8" name="MSIP_Label_834ed4f5-eae4-40c7-82be-b1cdf720a1b9_ContentBits">
    <vt:lpwstr>0</vt:lpwstr>
  </property>
</Properties>
</file>